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4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2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3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4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0" r:id="rId5"/>
    <p:sldMasterId id="2147483677" r:id="rId6"/>
  </p:sldMasterIdLst>
  <p:notesMasterIdLst>
    <p:notesMasterId r:id="rId16"/>
  </p:notesMasterIdLst>
  <p:sldIdLst>
    <p:sldId id="256" r:id="rId7"/>
    <p:sldId id="2147472908" r:id="rId8"/>
    <p:sldId id="2147482103" r:id="rId9"/>
    <p:sldId id="2147482853" r:id="rId10"/>
    <p:sldId id="2147482849" r:id="rId11"/>
    <p:sldId id="2147482852" r:id="rId12"/>
    <p:sldId id="2147482850" r:id="rId13"/>
    <p:sldId id="2147469792" r:id="rId14"/>
    <p:sldId id="2147475107" r:id="rId15"/>
  </p:sldIdLst>
  <p:sldSz cx="12192000" cy="6858000"/>
  <p:notesSz cx="6797675" cy="9926638"/>
  <p:custDataLst>
    <p:tags r:id="rId17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620013"/>
    <a:srgbClr val="6B3A43"/>
    <a:srgbClr val="B4B4B4"/>
    <a:srgbClr val="CC0000"/>
    <a:srgbClr val="A5202C"/>
    <a:srgbClr val="46647B"/>
    <a:srgbClr val="BA7272"/>
    <a:srgbClr val="BBCABA"/>
    <a:srgbClr val="83AC9A"/>
    <a:srgbClr val="5078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07" d="100"/>
          <a:sy n="107" d="100"/>
        </p:scale>
        <p:origin x="71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311B22-EC7D-469A-8DC8-41E8E707B8F2}" type="datetimeFigureOut">
              <a:rPr lang="it-IT" smtClean="0"/>
              <a:t>25/07/2023</a:t>
            </a:fld>
            <a:endParaRPr lang="it-I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D8E0BD-D270-4F69-8ED4-A33D7F60A47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825626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D8E0BD-D270-4F69-8ED4-A33D7F60A473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210075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D8E0BD-D270-4F69-8ED4-A33D7F60A473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01339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D8E0BD-D270-4F69-8ED4-A33D7F60A473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209151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D8E0BD-D270-4F69-8ED4-A33D7F60A473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511040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image" Target="../media/image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tags" Target="../tags/tag23.xml"/><Relationship Id="rId11" Type="http://schemas.openxmlformats.org/officeDocument/2006/relationships/image" Target="../media/image4.emf"/><Relationship Id="rId5" Type="http://schemas.openxmlformats.org/officeDocument/2006/relationships/tags" Target="../tags/tag22.xml"/><Relationship Id="rId10" Type="http://schemas.openxmlformats.org/officeDocument/2006/relationships/oleObject" Target="../embeddings/oleObject6.bin"/><Relationship Id="rId4" Type="http://schemas.openxmlformats.org/officeDocument/2006/relationships/tags" Target="../tags/tag21.xml"/><Relationship Id="rId9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image" Target="../media/image4.emf"/><Relationship Id="rId5" Type="http://schemas.openxmlformats.org/officeDocument/2006/relationships/tags" Target="../tags/tag6.xml"/><Relationship Id="rId10" Type="http://schemas.openxmlformats.org/officeDocument/2006/relationships/oleObject" Target="../embeddings/oleObject2.bin"/><Relationship Id="rId4" Type="http://schemas.openxmlformats.org/officeDocument/2006/relationships/tags" Target="../tags/tag5.xml"/><Relationship Id="rId9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tags" Target="../tags/tag15.xml"/><Relationship Id="rId11" Type="http://schemas.openxmlformats.org/officeDocument/2006/relationships/image" Target="../media/image4.emf"/><Relationship Id="rId5" Type="http://schemas.openxmlformats.org/officeDocument/2006/relationships/tags" Target="../tags/tag14.xml"/><Relationship Id="rId10" Type="http://schemas.openxmlformats.org/officeDocument/2006/relationships/oleObject" Target="../embeddings/oleObject4.bin"/><Relationship Id="rId4" Type="http://schemas.openxmlformats.org/officeDocument/2006/relationships/tags" Target="../tags/tag13.xml"/><Relationship Id="rId9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 userDrawn="1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28EEFE-025C-4440-A9D1-5CBEA769F1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2870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Diapositiva think-cell" r:id="rId10" imgW="592" imgH="595" progId="TCLayout.ActiveDocument.1">
                  <p:embed/>
                </p:oleObj>
              </mc:Choice>
              <mc:Fallback>
                <p:oleObj name="Diapositiva think-cell" r:id="rId10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28EEFE-025C-4440-A9D1-5CBEA769F1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tfpLayoutConfig" hidden="1"/>
          <p:cNvSpPr txBox="1"/>
          <p:nvPr userDrawn="1">
            <p:custDataLst>
              <p:tags r:id="rId3"/>
            </p:custDataLst>
          </p:nvPr>
        </p:nvSpPr>
        <p:spPr bwMode="gray">
          <a:xfrm>
            <a:off x="12700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2530394644586291 columns_1_132530394644586291 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E42DC1A5-6055-4603-824B-DEF8DFB46F5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4964" y="2"/>
            <a:ext cx="11522075" cy="876687"/>
          </a:xfrm>
        </p:spPr>
        <p:txBody>
          <a:bodyPr vert="horz" bIns="36000"/>
          <a:lstStyle>
            <a:lvl1pPr>
              <a:defRPr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7" name="TitleSeparatorLine">
            <a:extLst>
              <a:ext uri="{FF2B5EF4-FFF2-40B4-BE49-F238E27FC236}">
                <a16:creationId xmlns:a16="http://schemas.microsoft.com/office/drawing/2014/main" id="{57769A6C-93F3-422E-B58A-597F471DEF4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334964" y="876688"/>
            <a:ext cx="11520000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itleSeparatorLine">
            <a:extLst>
              <a:ext uri="{FF2B5EF4-FFF2-40B4-BE49-F238E27FC236}">
                <a16:creationId xmlns:a16="http://schemas.microsoft.com/office/drawing/2014/main" id="{F8D55024-005B-4FE9-9725-465C51A935DF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334964" y="6432548"/>
            <a:ext cx="11520000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42F64FCA-F230-4D4C-8540-9C4A54C7F01A}"/>
              </a:ext>
            </a:extLst>
          </p:cNvPr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304801" y="6472916"/>
            <a:ext cx="1335748" cy="339075"/>
          </a:xfrm>
          <a:prstGeom prst="rect">
            <a:avLst/>
          </a:prstGeom>
        </p:spPr>
      </p:pic>
      <p:sp>
        <p:nvSpPr>
          <p:cNvPr id="9" name="SlideNumber">
            <a:extLst>
              <a:ext uri="{FF2B5EF4-FFF2-40B4-BE49-F238E27FC236}">
                <a16:creationId xmlns:a16="http://schemas.microsoft.com/office/drawing/2014/main" id="{9B6523F0-6692-4D9E-B8F0-598AEDA0CD44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gray">
          <a:xfrm>
            <a:off x="11715974" y="6547804"/>
            <a:ext cx="141064" cy="138499"/>
          </a:xfrm>
          <a:prstGeom prst="roundRect">
            <a:avLst>
              <a:gd name="adj" fmla="val 0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182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it-IT" sz="900" b="0" baseline="0" smtClean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marL="0" indent="0" algn="r" defTabSz="711182" rtl="0" eaLnBrk="1" latinLnBrk="0" hangingPunct="1">
                <a:spcBef>
                  <a:spcPts val="1200"/>
                </a:spcBef>
                <a:buNone/>
              </a:pPr>
              <a:t>‹N›</a:t>
            </a:fld>
            <a:endParaRPr lang="it-IT" sz="900" b="0">
              <a:solidFill>
                <a:schemeClr val="bg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82092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46431" y="459006"/>
            <a:ext cx="11640870" cy="430887"/>
          </a:xfrm>
        </p:spPr>
        <p:txBody>
          <a:bodyPr lIns="0" tIns="0" rIns="0" bIns="0"/>
          <a:lstStyle>
            <a:lvl1pPr>
              <a:defRPr sz="2800" b="1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1" i="0">
                <a:solidFill>
                  <a:srgbClr val="6600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5C5C5C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  <a:spcBef>
                <a:spcPts val="15"/>
              </a:spcBef>
            </a:pPr>
            <a:fld id="{81D60167-4931-47E6-BA6A-407CBD079E47}" type="slidenum">
              <a:rPr spc="-5"/>
              <a:t>‹N›</a:t>
            </a:fld>
            <a:endParaRPr spc="-5"/>
          </a:p>
        </p:txBody>
      </p:sp>
    </p:spTree>
    <p:extLst>
      <p:ext uri="{BB962C8B-B14F-4D97-AF65-F5344CB8AC3E}">
        <p14:creationId xmlns:p14="http://schemas.microsoft.com/office/powerpoint/2010/main" val="142107585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28EEFE-025C-4440-A9D1-5CBEA769F1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2870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Diapositiva think-cell" r:id="rId10" imgW="592" imgH="595" progId="TCLayout.ActiveDocument.1">
                  <p:embed/>
                </p:oleObj>
              </mc:Choice>
              <mc:Fallback>
                <p:oleObj name="Diapositiva think-cell" r:id="rId10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28EEFE-025C-4440-A9D1-5CBEA769F1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tfpLayoutConfig" hidden="1"/>
          <p:cNvSpPr txBox="1"/>
          <p:nvPr userDrawn="1">
            <p:custDataLst>
              <p:tags r:id="rId3"/>
            </p:custDataLst>
          </p:nvPr>
        </p:nvSpPr>
        <p:spPr bwMode="gray">
          <a:xfrm>
            <a:off x="12700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2530394644586291 columns_1_132530394644586291 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E42DC1A5-6055-4603-824B-DEF8DFB46F5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4964" y="2"/>
            <a:ext cx="11522075" cy="876687"/>
          </a:xfrm>
        </p:spPr>
        <p:txBody>
          <a:bodyPr vert="horz" bIns="36000"/>
          <a:lstStyle>
            <a:lvl1pPr>
              <a:defRPr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7" name="TitleSeparatorLine">
            <a:extLst>
              <a:ext uri="{FF2B5EF4-FFF2-40B4-BE49-F238E27FC236}">
                <a16:creationId xmlns:a16="http://schemas.microsoft.com/office/drawing/2014/main" id="{57769A6C-93F3-422E-B58A-597F471DEF4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334964" y="876688"/>
            <a:ext cx="11520000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itleSeparatorLine">
            <a:extLst>
              <a:ext uri="{FF2B5EF4-FFF2-40B4-BE49-F238E27FC236}">
                <a16:creationId xmlns:a16="http://schemas.microsoft.com/office/drawing/2014/main" id="{F8D55024-005B-4FE9-9725-465C51A935DF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334964" y="6432548"/>
            <a:ext cx="11520000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42F64FCA-F230-4D4C-8540-9C4A54C7F01A}"/>
              </a:ext>
            </a:extLst>
          </p:cNvPr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304801" y="6472916"/>
            <a:ext cx="1335748" cy="339075"/>
          </a:xfrm>
          <a:prstGeom prst="rect">
            <a:avLst/>
          </a:prstGeom>
        </p:spPr>
      </p:pic>
      <p:sp>
        <p:nvSpPr>
          <p:cNvPr id="9" name="SlideNumber">
            <a:extLst>
              <a:ext uri="{FF2B5EF4-FFF2-40B4-BE49-F238E27FC236}">
                <a16:creationId xmlns:a16="http://schemas.microsoft.com/office/drawing/2014/main" id="{9B6523F0-6692-4D9E-B8F0-598AEDA0CD44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gray">
          <a:xfrm>
            <a:off x="11715974" y="6547804"/>
            <a:ext cx="141064" cy="138499"/>
          </a:xfrm>
          <a:prstGeom prst="roundRect">
            <a:avLst>
              <a:gd name="adj" fmla="val 0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182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it-IT" sz="900" b="0" baseline="0" smtClean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marL="0" indent="0" algn="r" defTabSz="711182" rtl="0" eaLnBrk="1" latinLnBrk="0" hangingPunct="1">
                <a:spcBef>
                  <a:spcPts val="1200"/>
                </a:spcBef>
                <a:buNone/>
              </a:pPr>
              <a:t>‹N›</a:t>
            </a:fld>
            <a:endParaRPr lang="it-IT" sz="900" b="0">
              <a:solidFill>
                <a:schemeClr val="bg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87614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971656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99038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4247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3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11625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28EEFE-025C-4440-A9D1-5CBEA769F1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2870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Diapositiva think-cell" r:id="rId10" imgW="592" imgH="595" progId="TCLayout.ActiveDocument.1">
                  <p:embed/>
                </p:oleObj>
              </mc:Choice>
              <mc:Fallback>
                <p:oleObj name="Diapositiva think-cell" r:id="rId10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28EEFE-025C-4440-A9D1-5CBEA769F1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tfpLayoutConfig" hidden="1"/>
          <p:cNvSpPr txBox="1"/>
          <p:nvPr userDrawn="1">
            <p:custDataLst>
              <p:tags r:id="rId3"/>
            </p:custDataLst>
          </p:nvPr>
        </p:nvSpPr>
        <p:spPr bwMode="gray">
          <a:xfrm>
            <a:off x="12700" y="12700"/>
            <a:ext cx="598488" cy="93158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sz="133">
                <a:solidFill>
                  <a:srgbClr val="FFFFFF">
                    <a:alpha val="0"/>
                  </a:srgbClr>
                </a:solidFill>
              </a:rPr>
              <a:t>overall_0_132530394644586291 columns_1_132530394644586291 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E42DC1A5-6055-4603-824B-DEF8DFB46F5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4964" y="2"/>
            <a:ext cx="11522075" cy="876687"/>
          </a:xfrm>
        </p:spPr>
        <p:txBody>
          <a:bodyPr vert="horz" bIns="36000"/>
          <a:lstStyle>
            <a:lvl1pPr>
              <a:defRPr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7" name="TitleSeparatorLine">
            <a:extLst>
              <a:ext uri="{FF2B5EF4-FFF2-40B4-BE49-F238E27FC236}">
                <a16:creationId xmlns:a16="http://schemas.microsoft.com/office/drawing/2014/main" id="{57769A6C-93F3-422E-B58A-597F471DEF49}"/>
              </a:ext>
            </a:extLst>
          </p:cNvPr>
          <p:cNvCxnSpPr>
            <a:cxnSpLocks/>
          </p:cNvCxnSpPr>
          <p:nvPr userDrawn="1">
            <p:custDataLst>
              <p:tags r:id="rId5"/>
            </p:custDataLst>
          </p:nvPr>
        </p:nvCxnSpPr>
        <p:spPr>
          <a:xfrm>
            <a:off x="334964" y="876688"/>
            <a:ext cx="11520000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itleSeparatorLine">
            <a:extLst>
              <a:ext uri="{FF2B5EF4-FFF2-40B4-BE49-F238E27FC236}">
                <a16:creationId xmlns:a16="http://schemas.microsoft.com/office/drawing/2014/main" id="{F8D55024-005B-4FE9-9725-465C51A935DF}"/>
              </a:ext>
            </a:extLst>
          </p:cNvPr>
          <p:cNvCxnSpPr>
            <a:cxnSpLocks/>
          </p:cNvCxnSpPr>
          <p:nvPr userDrawn="1">
            <p:custDataLst>
              <p:tags r:id="rId6"/>
            </p:custDataLst>
          </p:nvPr>
        </p:nvCxnSpPr>
        <p:spPr>
          <a:xfrm>
            <a:off x="334964" y="6432548"/>
            <a:ext cx="11520000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42F64FCA-F230-4D4C-8540-9C4A54C7F01A}"/>
              </a:ext>
            </a:extLst>
          </p:cNvPr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304801" y="6472916"/>
            <a:ext cx="1335748" cy="339075"/>
          </a:xfrm>
          <a:prstGeom prst="rect">
            <a:avLst/>
          </a:prstGeom>
        </p:spPr>
      </p:pic>
      <p:sp>
        <p:nvSpPr>
          <p:cNvPr id="9" name="SlideNumber">
            <a:extLst>
              <a:ext uri="{FF2B5EF4-FFF2-40B4-BE49-F238E27FC236}">
                <a16:creationId xmlns:a16="http://schemas.microsoft.com/office/drawing/2014/main" id="{9B6523F0-6692-4D9E-B8F0-598AEDA0CD44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gray">
          <a:xfrm>
            <a:off x="11715974" y="6547804"/>
            <a:ext cx="141064" cy="138499"/>
          </a:xfrm>
          <a:prstGeom prst="roundRect">
            <a:avLst>
              <a:gd name="adj" fmla="val 0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182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it-IT" sz="900" b="0" baseline="0" smtClean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marL="0" indent="0" algn="r" defTabSz="711182" rtl="0" eaLnBrk="1" latinLnBrk="0" hangingPunct="1">
                <a:spcBef>
                  <a:spcPts val="1200"/>
                </a:spcBef>
                <a:buNone/>
              </a:pPr>
              <a:t>‹N›</a:t>
            </a:fld>
            <a:endParaRPr lang="it-IT" sz="900" b="0">
              <a:solidFill>
                <a:schemeClr val="bg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02327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7.xml"/><Relationship Id="rId7" Type="http://schemas.openxmlformats.org/officeDocument/2006/relationships/vmlDrawing" Target="../drawings/vmlDrawing3.v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.xml"/><Relationship Id="rId9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3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4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>
            <a:extLst>
              <a:ext uri="{FF2B5EF4-FFF2-40B4-BE49-F238E27FC236}">
                <a16:creationId xmlns:a16="http://schemas.microsoft.com/office/drawing/2014/main" id="{C39F9F67-1616-401B-9F1B-09398D8571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01804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Diapositiva think-cell" r:id="rId8" imgW="473" imgH="473" progId="TCLayout.ActiveDocument.1">
                  <p:embed/>
                </p:oleObj>
              </mc:Choice>
              <mc:Fallback>
                <p:oleObj name="Diapositiva think-cell" r:id="rId8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32E34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N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nb-NO" sz="600">
                <a:solidFill>
                  <a:srgbClr val="FFFFFF"/>
                </a:solidFill>
              </a:rPr>
              <a:t>Slide per presentazione_vREVISED</a:t>
            </a: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MIL</a:t>
            </a:r>
          </a:p>
        </p:txBody>
      </p:sp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49" r:id="rId2"/>
    <p:sldLayoutId id="2147483663" r:id="rId3"/>
    <p:sldLayoutId id="2147483676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2" pos="211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>
            <a:extLst>
              <a:ext uri="{FF2B5EF4-FFF2-40B4-BE49-F238E27FC236}">
                <a16:creationId xmlns:a16="http://schemas.microsoft.com/office/drawing/2014/main" id="{224221CC-47E4-4D6D-A4FF-002E255CD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447875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Diapositiva think-cell" r:id="rId9" imgW="473" imgH="473" progId="TCLayout.ActiveDocument.1">
                  <p:embed/>
                </p:oleObj>
              </mc:Choice>
              <mc:Fallback>
                <p:oleObj name="Diapositiva think-cell" r:id="rId9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32E34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N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Presentation2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MIL</a:t>
            </a:r>
            <a:endParaRPr lang="en-US" sz="600" dirty="0">
              <a:solidFill>
                <a:srgbClr val="FFFFFF"/>
              </a:solidFill>
            </a:endParaRP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083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>
          <p15:clr>
            <a:srgbClr val="D1D1D1"/>
          </p15:clr>
        </p15:guide>
        <p15:guide id="2" pos="211">
          <p15:clr>
            <a:srgbClr val="D1D1D1"/>
          </p15:clr>
        </p15:guide>
        <p15:guide id="4" orient="horz" pos="799">
          <p15:clr>
            <a:srgbClr val="D1D1D1"/>
          </p15:clr>
        </p15:guide>
        <p15:guide id="7" orient="horz" pos="4133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>
            <a:extLst>
              <a:ext uri="{FF2B5EF4-FFF2-40B4-BE49-F238E27FC236}">
                <a16:creationId xmlns:a16="http://schemas.microsoft.com/office/drawing/2014/main" id="{01009757-22F7-4D4B-B807-6FBD94C35B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95391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Diapositiva think-cell" r:id="rId10" imgW="473" imgH="473" progId="TCLayout.ActiveDocument.1">
                  <p:embed/>
                </p:oleObj>
              </mc:Choice>
              <mc:Fallback>
                <p:oleObj name="Diapositiva think-cell" r:id="rId10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32E34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N›</a:t>
            </a:fld>
            <a:endParaRPr lang="en-US" sz="900" b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>
                <a:solidFill>
                  <a:srgbClr val="FFFFFF"/>
                </a:solidFill>
              </a:rPr>
              <a:t>MIL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55" r:id="rId4"/>
    <p:sldLayoutId id="2147483664" r:id="rId5"/>
    <p:sldLayoutId id="2147483681" r:id="rId6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2" pos="211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7469" userDrawn="1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7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svg"/><Relationship Id="rId12" Type="http://schemas.openxmlformats.org/officeDocument/2006/relationships/image" Target="../media/image14.png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1.emf"/><Relationship Id="rId15" Type="http://schemas.openxmlformats.org/officeDocument/2006/relationships/image" Target="../media/image17.svg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13" Type="http://schemas.openxmlformats.org/officeDocument/2006/relationships/image" Target="../media/image21.png"/><Relationship Id="rId3" Type="http://schemas.openxmlformats.org/officeDocument/2006/relationships/tags" Target="../tags/tag30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" Type="http://schemas.openxmlformats.org/officeDocument/2006/relationships/tags" Target="../tags/tag29.xml"/><Relationship Id="rId16" Type="http://schemas.openxmlformats.org/officeDocument/2006/relationships/image" Target="../media/image24.png"/><Relationship Id="rId1" Type="http://schemas.openxmlformats.org/officeDocument/2006/relationships/vmlDrawing" Target="../drawings/vmlDrawing9.vml"/><Relationship Id="rId6" Type="http://schemas.openxmlformats.org/officeDocument/2006/relationships/tags" Target="../tags/tag33.xml"/><Relationship Id="rId11" Type="http://schemas.openxmlformats.org/officeDocument/2006/relationships/image" Target="../media/image19.png"/><Relationship Id="rId5" Type="http://schemas.openxmlformats.org/officeDocument/2006/relationships/tags" Target="../tags/tag32.xml"/><Relationship Id="rId15" Type="http://schemas.openxmlformats.org/officeDocument/2006/relationships/image" Target="../media/image23.png"/><Relationship Id="rId10" Type="http://schemas.openxmlformats.org/officeDocument/2006/relationships/image" Target="../media/image18.emf"/><Relationship Id="rId4" Type="http://schemas.openxmlformats.org/officeDocument/2006/relationships/tags" Target="../tags/tag31.xml"/><Relationship Id="rId9" Type="http://schemas.openxmlformats.org/officeDocument/2006/relationships/image" Target="../media/image1.emf"/><Relationship Id="rId1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18" Type="http://schemas.openxmlformats.org/officeDocument/2006/relationships/slideLayout" Target="../slideLayouts/slideLayout14.xml"/><Relationship Id="rId26" Type="http://schemas.openxmlformats.org/officeDocument/2006/relationships/image" Target="../media/image30.png"/><Relationship Id="rId3" Type="http://schemas.openxmlformats.org/officeDocument/2006/relationships/tags" Target="../tags/tag35.xml"/><Relationship Id="rId21" Type="http://schemas.openxmlformats.org/officeDocument/2006/relationships/image" Target="../media/image4.emf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5" Type="http://schemas.openxmlformats.org/officeDocument/2006/relationships/image" Target="../media/image29.png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0" Type="http://schemas.openxmlformats.org/officeDocument/2006/relationships/oleObject" Target="../embeddings/oleObject10.bin"/><Relationship Id="rId29" Type="http://schemas.openxmlformats.org/officeDocument/2006/relationships/image" Target="../media/image33.png"/><Relationship Id="rId1" Type="http://schemas.openxmlformats.org/officeDocument/2006/relationships/vmlDrawing" Target="../drawings/vmlDrawing10.v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24" Type="http://schemas.openxmlformats.org/officeDocument/2006/relationships/image" Target="../media/image28.png"/><Relationship Id="rId32" Type="http://schemas.openxmlformats.org/officeDocument/2006/relationships/image" Target="../media/image36.emf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23" Type="http://schemas.openxmlformats.org/officeDocument/2006/relationships/image" Target="../media/image27.emf"/><Relationship Id="rId28" Type="http://schemas.openxmlformats.org/officeDocument/2006/relationships/image" Target="../media/image32.png"/><Relationship Id="rId10" Type="http://schemas.openxmlformats.org/officeDocument/2006/relationships/tags" Target="../tags/tag42.xml"/><Relationship Id="rId19" Type="http://schemas.openxmlformats.org/officeDocument/2006/relationships/notesSlide" Target="../notesSlides/notesSlide1.xml"/><Relationship Id="rId31" Type="http://schemas.openxmlformats.org/officeDocument/2006/relationships/image" Target="../media/image35.png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image" Target="../media/image26.emf"/><Relationship Id="rId27" Type="http://schemas.openxmlformats.org/officeDocument/2006/relationships/image" Target="../media/image31.png"/><Relationship Id="rId30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51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1.v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53.xml"/><Relationship Id="rId10" Type="http://schemas.openxmlformats.org/officeDocument/2006/relationships/image" Target="../media/image37.emf"/><Relationship Id="rId4" Type="http://schemas.openxmlformats.org/officeDocument/2006/relationships/tags" Target="../tags/tag52.xml"/><Relationship Id="rId9" Type="http://schemas.openxmlformats.org/officeDocument/2006/relationships/image" Target="../media/image4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26" Type="http://schemas.openxmlformats.org/officeDocument/2006/relationships/oleObject" Target="../embeddings/oleObject12.bin"/><Relationship Id="rId3" Type="http://schemas.openxmlformats.org/officeDocument/2006/relationships/tags" Target="../tags/tag55.xml"/><Relationship Id="rId21" Type="http://schemas.openxmlformats.org/officeDocument/2006/relationships/tags" Target="../tags/tag73.xml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5" Type="http://schemas.openxmlformats.org/officeDocument/2006/relationships/notesSlide" Target="../notesSlides/notesSlide3.xml"/><Relationship Id="rId2" Type="http://schemas.openxmlformats.org/officeDocument/2006/relationships/tags" Target="../tags/tag54.xml"/><Relationship Id="rId16" Type="http://schemas.openxmlformats.org/officeDocument/2006/relationships/tags" Target="../tags/tag68.xml"/><Relationship Id="rId20" Type="http://schemas.openxmlformats.org/officeDocument/2006/relationships/tags" Target="../tags/tag72.xml"/><Relationship Id="rId29" Type="http://schemas.openxmlformats.org/officeDocument/2006/relationships/image" Target="../media/image39.emf"/><Relationship Id="rId1" Type="http://schemas.openxmlformats.org/officeDocument/2006/relationships/vmlDrawing" Target="../drawings/vmlDrawing12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slideLayout" Target="../slideLayouts/slideLayout9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23" Type="http://schemas.openxmlformats.org/officeDocument/2006/relationships/tags" Target="../tags/tag75.xml"/><Relationship Id="rId28" Type="http://schemas.openxmlformats.org/officeDocument/2006/relationships/image" Target="../media/image38.emf"/><Relationship Id="rId10" Type="http://schemas.openxmlformats.org/officeDocument/2006/relationships/tags" Target="../tags/tag62.xml"/><Relationship Id="rId19" Type="http://schemas.openxmlformats.org/officeDocument/2006/relationships/tags" Target="../tags/tag71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Relationship Id="rId22" Type="http://schemas.openxmlformats.org/officeDocument/2006/relationships/tags" Target="../tags/tag74.xml"/><Relationship Id="rId27" Type="http://schemas.openxmlformats.org/officeDocument/2006/relationships/image" Target="../media/image4.emf"/><Relationship Id="rId30" Type="http://schemas.openxmlformats.org/officeDocument/2006/relationships/image" Target="../media/image40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oleObject" Target="../embeddings/oleObject13.bin"/><Relationship Id="rId18" Type="http://schemas.openxmlformats.org/officeDocument/2006/relationships/image" Target="../media/image44.png"/><Relationship Id="rId3" Type="http://schemas.openxmlformats.org/officeDocument/2006/relationships/tags" Target="../tags/tag77.xml"/><Relationship Id="rId21" Type="http://schemas.openxmlformats.org/officeDocument/2006/relationships/image" Target="../media/image47.emf"/><Relationship Id="rId7" Type="http://schemas.openxmlformats.org/officeDocument/2006/relationships/tags" Target="../tags/tag81.xml"/><Relationship Id="rId12" Type="http://schemas.openxmlformats.org/officeDocument/2006/relationships/notesSlide" Target="../notesSlides/notesSlide4.xml"/><Relationship Id="rId17" Type="http://schemas.openxmlformats.org/officeDocument/2006/relationships/image" Target="../media/image43.png"/><Relationship Id="rId2" Type="http://schemas.openxmlformats.org/officeDocument/2006/relationships/tags" Target="../tags/tag76.xml"/><Relationship Id="rId16" Type="http://schemas.openxmlformats.org/officeDocument/2006/relationships/image" Target="../media/image42.png"/><Relationship Id="rId20" Type="http://schemas.openxmlformats.org/officeDocument/2006/relationships/image" Target="../media/image46.svg"/><Relationship Id="rId1" Type="http://schemas.openxmlformats.org/officeDocument/2006/relationships/vmlDrawing" Target="../drawings/vmlDrawing13.vml"/><Relationship Id="rId6" Type="http://schemas.openxmlformats.org/officeDocument/2006/relationships/tags" Target="../tags/tag80.xml"/><Relationship Id="rId11" Type="http://schemas.openxmlformats.org/officeDocument/2006/relationships/slideLayout" Target="../slideLayouts/slideLayout4.xml"/><Relationship Id="rId5" Type="http://schemas.openxmlformats.org/officeDocument/2006/relationships/tags" Target="../tags/tag79.xml"/><Relationship Id="rId15" Type="http://schemas.openxmlformats.org/officeDocument/2006/relationships/image" Target="../media/image41.png"/><Relationship Id="rId23" Type="http://schemas.openxmlformats.org/officeDocument/2006/relationships/image" Target="../media/image49.emf"/><Relationship Id="rId10" Type="http://schemas.openxmlformats.org/officeDocument/2006/relationships/tags" Target="../tags/tag84.xml"/><Relationship Id="rId19" Type="http://schemas.openxmlformats.org/officeDocument/2006/relationships/image" Target="../media/image45.png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image" Target="../media/image4.emf"/><Relationship Id="rId22" Type="http://schemas.openxmlformats.org/officeDocument/2006/relationships/image" Target="../media/image48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13" Type="http://schemas.openxmlformats.org/officeDocument/2006/relationships/image" Target="../media/image57.png"/><Relationship Id="rId18" Type="http://schemas.openxmlformats.org/officeDocument/2006/relationships/image" Target="../media/image62.png"/><Relationship Id="rId3" Type="http://schemas.openxmlformats.org/officeDocument/2006/relationships/tags" Target="../tags/tag86.xml"/><Relationship Id="rId21" Type="http://schemas.microsoft.com/office/2007/relationships/hdphoto" Target="../media/hdphoto1.wdp"/><Relationship Id="rId7" Type="http://schemas.openxmlformats.org/officeDocument/2006/relationships/image" Target="../media/image51.png"/><Relationship Id="rId12" Type="http://schemas.openxmlformats.org/officeDocument/2006/relationships/image" Target="../media/image56.svg"/><Relationship Id="rId17" Type="http://schemas.openxmlformats.org/officeDocument/2006/relationships/image" Target="../media/image61.png"/><Relationship Id="rId2" Type="http://schemas.openxmlformats.org/officeDocument/2006/relationships/tags" Target="../tags/tag85.xml"/><Relationship Id="rId16" Type="http://schemas.openxmlformats.org/officeDocument/2006/relationships/image" Target="../media/image60.svg"/><Relationship Id="rId20" Type="http://schemas.openxmlformats.org/officeDocument/2006/relationships/image" Target="../media/image64.png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0.emf"/><Relationship Id="rId11" Type="http://schemas.openxmlformats.org/officeDocument/2006/relationships/image" Target="../media/image55.png"/><Relationship Id="rId5" Type="http://schemas.openxmlformats.org/officeDocument/2006/relationships/oleObject" Target="../embeddings/oleObject14.bin"/><Relationship Id="rId15" Type="http://schemas.openxmlformats.org/officeDocument/2006/relationships/image" Target="../media/image59.png"/><Relationship Id="rId23" Type="http://schemas.openxmlformats.org/officeDocument/2006/relationships/image" Target="../media/image66.svg"/><Relationship Id="rId10" Type="http://schemas.openxmlformats.org/officeDocument/2006/relationships/image" Target="../media/image54.png"/><Relationship Id="rId19" Type="http://schemas.openxmlformats.org/officeDocument/2006/relationships/image" Target="../media/image63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53.png"/><Relationship Id="rId14" Type="http://schemas.openxmlformats.org/officeDocument/2006/relationships/image" Target="../media/image58.svg"/><Relationship Id="rId22" Type="http://schemas.openxmlformats.org/officeDocument/2006/relationships/image" Target="../media/image65.pn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98.xml"/><Relationship Id="rId18" Type="http://schemas.openxmlformats.org/officeDocument/2006/relationships/tags" Target="../tags/tag103.xml"/><Relationship Id="rId26" Type="http://schemas.openxmlformats.org/officeDocument/2006/relationships/tags" Target="../tags/tag111.xml"/><Relationship Id="rId39" Type="http://schemas.openxmlformats.org/officeDocument/2006/relationships/tags" Target="../tags/tag124.xml"/><Relationship Id="rId21" Type="http://schemas.openxmlformats.org/officeDocument/2006/relationships/tags" Target="../tags/tag106.xml"/><Relationship Id="rId34" Type="http://schemas.openxmlformats.org/officeDocument/2006/relationships/tags" Target="../tags/tag119.xml"/><Relationship Id="rId42" Type="http://schemas.openxmlformats.org/officeDocument/2006/relationships/tags" Target="../tags/tag127.xml"/><Relationship Id="rId47" Type="http://schemas.openxmlformats.org/officeDocument/2006/relationships/oleObject" Target="../embeddings/oleObject15.bin"/><Relationship Id="rId50" Type="http://schemas.openxmlformats.org/officeDocument/2006/relationships/image" Target="../media/image68.emf"/><Relationship Id="rId55" Type="http://schemas.openxmlformats.org/officeDocument/2006/relationships/image" Target="../media/image73.png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6" Type="http://schemas.openxmlformats.org/officeDocument/2006/relationships/tags" Target="../tags/tag101.xml"/><Relationship Id="rId29" Type="http://schemas.openxmlformats.org/officeDocument/2006/relationships/tags" Target="../tags/tag114.xml"/><Relationship Id="rId11" Type="http://schemas.openxmlformats.org/officeDocument/2006/relationships/tags" Target="../tags/tag96.xml"/><Relationship Id="rId24" Type="http://schemas.openxmlformats.org/officeDocument/2006/relationships/tags" Target="../tags/tag109.xml"/><Relationship Id="rId32" Type="http://schemas.openxmlformats.org/officeDocument/2006/relationships/tags" Target="../tags/tag117.xml"/><Relationship Id="rId37" Type="http://schemas.openxmlformats.org/officeDocument/2006/relationships/tags" Target="../tags/tag122.xml"/><Relationship Id="rId40" Type="http://schemas.openxmlformats.org/officeDocument/2006/relationships/tags" Target="../tags/tag125.xml"/><Relationship Id="rId45" Type="http://schemas.openxmlformats.org/officeDocument/2006/relationships/tags" Target="../tags/tag130.xml"/><Relationship Id="rId53" Type="http://schemas.openxmlformats.org/officeDocument/2006/relationships/image" Target="../media/image71.emf"/><Relationship Id="rId5" Type="http://schemas.openxmlformats.org/officeDocument/2006/relationships/tags" Target="../tags/tag90.xml"/><Relationship Id="rId10" Type="http://schemas.openxmlformats.org/officeDocument/2006/relationships/tags" Target="../tags/tag95.xml"/><Relationship Id="rId19" Type="http://schemas.openxmlformats.org/officeDocument/2006/relationships/tags" Target="../tags/tag104.xml"/><Relationship Id="rId31" Type="http://schemas.openxmlformats.org/officeDocument/2006/relationships/tags" Target="../tags/tag116.xml"/><Relationship Id="rId44" Type="http://schemas.openxmlformats.org/officeDocument/2006/relationships/tags" Target="../tags/tag129.xml"/><Relationship Id="rId52" Type="http://schemas.openxmlformats.org/officeDocument/2006/relationships/image" Target="../media/image70.emf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Relationship Id="rId22" Type="http://schemas.openxmlformats.org/officeDocument/2006/relationships/tags" Target="../tags/tag107.xml"/><Relationship Id="rId27" Type="http://schemas.openxmlformats.org/officeDocument/2006/relationships/tags" Target="../tags/tag112.xml"/><Relationship Id="rId30" Type="http://schemas.openxmlformats.org/officeDocument/2006/relationships/tags" Target="../tags/tag115.xml"/><Relationship Id="rId35" Type="http://schemas.openxmlformats.org/officeDocument/2006/relationships/tags" Target="../tags/tag120.xml"/><Relationship Id="rId43" Type="http://schemas.openxmlformats.org/officeDocument/2006/relationships/tags" Target="../tags/tag128.xml"/><Relationship Id="rId48" Type="http://schemas.openxmlformats.org/officeDocument/2006/relationships/image" Target="../media/image4.emf"/><Relationship Id="rId8" Type="http://schemas.openxmlformats.org/officeDocument/2006/relationships/tags" Target="../tags/tag93.xml"/><Relationship Id="rId51" Type="http://schemas.openxmlformats.org/officeDocument/2006/relationships/image" Target="../media/image69.emf"/><Relationship Id="rId3" Type="http://schemas.openxmlformats.org/officeDocument/2006/relationships/tags" Target="../tags/tag88.xml"/><Relationship Id="rId12" Type="http://schemas.openxmlformats.org/officeDocument/2006/relationships/tags" Target="../tags/tag97.xml"/><Relationship Id="rId17" Type="http://schemas.openxmlformats.org/officeDocument/2006/relationships/tags" Target="../tags/tag102.xml"/><Relationship Id="rId25" Type="http://schemas.openxmlformats.org/officeDocument/2006/relationships/tags" Target="../tags/tag110.xml"/><Relationship Id="rId33" Type="http://schemas.openxmlformats.org/officeDocument/2006/relationships/tags" Target="../tags/tag118.xml"/><Relationship Id="rId38" Type="http://schemas.openxmlformats.org/officeDocument/2006/relationships/tags" Target="../tags/tag123.xml"/><Relationship Id="rId46" Type="http://schemas.openxmlformats.org/officeDocument/2006/relationships/slideLayout" Target="../slideLayouts/slideLayout9.xml"/><Relationship Id="rId20" Type="http://schemas.openxmlformats.org/officeDocument/2006/relationships/tags" Target="../tags/tag105.xml"/><Relationship Id="rId41" Type="http://schemas.openxmlformats.org/officeDocument/2006/relationships/tags" Target="../tags/tag126.xml"/><Relationship Id="rId54" Type="http://schemas.openxmlformats.org/officeDocument/2006/relationships/image" Target="../media/image72.emf"/><Relationship Id="rId1" Type="http://schemas.openxmlformats.org/officeDocument/2006/relationships/vmlDrawing" Target="../drawings/vmlDrawing15.vml"/><Relationship Id="rId6" Type="http://schemas.openxmlformats.org/officeDocument/2006/relationships/tags" Target="../tags/tag91.xml"/><Relationship Id="rId15" Type="http://schemas.openxmlformats.org/officeDocument/2006/relationships/tags" Target="../tags/tag100.xml"/><Relationship Id="rId23" Type="http://schemas.openxmlformats.org/officeDocument/2006/relationships/tags" Target="../tags/tag108.xml"/><Relationship Id="rId28" Type="http://schemas.openxmlformats.org/officeDocument/2006/relationships/tags" Target="../tags/tag113.xml"/><Relationship Id="rId36" Type="http://schemas.openxmlformats.org/officeDocument/2006/relationships/tags" Target="../tags/tag121.xml"/><Relationship Id="rId49" Type="http://schemas.openxmlformats.org/officeDocument/2006/relationships/image" Target="../media/image6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ggetto 15" hidden="1">
            <a:extLst>
              <a:ext uri="{FF2B5EF4-FFF2-40B4-BE49-F238E27FC236}">
                <a16:creationId xmlns:a16="http://schemas.microsoft.com/office/drawing/2014/main" id="{B23C7B64-6E72-43A1-B67D-D4F47D5D4CF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32712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Diapositiva think-cell" r:id="rId5" imgW="473" imgH="473" progId="TCLayout.ActiveDocument.1">
                  <p:embed/>
                </p:oleObj>
              </mc:Choice>
              <mc:Fallback>
                <p:oleObj name="Diapositiva think-cell" r:id="rId5" imgW="473" imgH="473" progId="TCLayout.ActiveDocument.1">
                  <p:embed/>
                  <p:pic>
                    <p:nvPicPr>
                      <p:cNvPr id="16" name="Oggetto 15" hidden="1">
                        <a:extLst>
                          <a:ext uri="{FF2B5EF4-FFF2-40B4-BE49-F238E27FC236}">
                            <a16:creationId xmlns:a16="http://schemas.microsoft.com/office/drawing/2014/main" id="{B23C7B64-6E72-43A1-B67D-D4F47D5D4C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39FCCC32-B019-4992-A38A-79BE49C15AF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530898">
              <a:extLst>
                <a:ext uri="{FF2B5EF4-FFF2-40B4-BE49-F238E27FC236}">
                  <a16:creationId xmlns:a16="http://schemas.microsoft.com/office/drawing/2014/main" id="{59D5368F-59E5-46CC-A2D1-F4E8BDFDE7D7}"/>
                </a:ext>
              </a:extLst>
            </p:cNvPr>
            <p:cNvSpPr/>
            <p:nvPr/>
          </p:nvSpPr>
          <p:spPr>
            <a:xfrm>
              <a:off x="11912600" y="6926580"/>
              <a:ext cx="2794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10" name="btfpColumnGapBlocker240754">
              <a:extLst>
                <a:ext uri="{FF2B5EF4-FFF2-40B4-BE49-F238E27FC236}">
                  <a16:creationId xmlns:a16="http://schemas.microsoft.com/office/drawing/2014/main" id="{C5EE9399-FAB6-4657-BBAA-BA08F144C530}"/>
                </a:ext>
              </a:extLst>
            </p:cNvPr>
            <p:cNvSpPr/>
            <p:nvPr/>
          </p:nvSpPr>
          <p:spPr>
            <a:xfrm>
              <a:off x="0" y="6926580"/>
              <a:ext cx="2794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cxnSp>
          <p:nvCxnSpPr>
            <p:cNvPr id="8" name="btfpColumnIndicator709392">
              <a:extLst>
                <a:ext uri="{FF2B5EF4-FFF2-40B4-BE49-F238E27FC236}">
                  <a16:creationId xmlns:a16="http://schemas.microsoft.com/office/drawing/2014/main" id="{65A194AF-B4E0-477E-B205-6E9F85DA6D58}"/>
                </a:ext>
              </a:extLst>
            </p:cNvPr>
            <p:cNvCxnSpPr/>
            <p:nvPr/>
          </p:nvCxnSpPr>
          <p:spPr>
            <a:xfrm flipH="1" flipV="1">
              <a:off x="119126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337287">
              <a:extLst>
                <a:ext uri="{FF2B5EF4-FFF2-40B4-BE49-F238E27FC236}">
                  <a16:creationId xmlns:a16="http://schemas.microsoft.com/office/drawing/2014/main" id="{1694209D-133F-4A87-B729-42809B14EBE9}"/>
                </a:ext>
              </a:extLst>
            </p:cNvPr>
            <p:cNvCxnSpPr/>
            <p:nvPr/>
          </p:nvCxnSpPr>
          <p:spPr>
            <a:xfrm flipH="1" flipV="1">
              <a:off x="2794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4A78BA9D-C3D7-483D-B4E7-013E6C6F32C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390442">
              <a:extLst>
                <a:ext uri="{FF2B5EF4-FFF2-40B4-BE49-F238E27FC236}">
                  <a16:creationId xmlns:a16="http://schemas.microsoft.com/office/drawing/2014/main" id="{D06EA68C-D9B7-4799-AC18-28E8A725B9B7}"/>
                </a:ext>
              </a:extLst>
            </p:cNvPr>
            <p:cNvSpPr/>
            <p:nvPr/>
          </p:nvSpPr>
          <p:spPr>
            <a:xfrm>
              <a:off x="11912600" y="-205740"/>
              <a:ext cx="2794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9" name="btfpColumnGapBlocker177367">
              <a:extLst>
                <a:ext uri="{FF2B5EF4-FFF2-40B4-BE49-F238E27FC236}">
                  <a16:creationId xmlns:a16="http://schemas.microsoft.com/office/drawing/2014/main" id="{3B29885B-49D4-4D7A-9643-589EF3390407}"/>
                </a:ext>
              </a:extLst>
            </p:cNvPr>
            <p:cNvSpPr/>
            <p:nvPr/>
          </p:nvSpPr>
          <p:spPr>
            <a:xfrm>
              <a:off x="0" y="-205740"/>
              <a:ext cx="279400" cy="13716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cxnSp>
          <p:nvCxnSpPr>
            <p:cNvPr id="7" name="btfpColumnIndicator639387">
              <a:extLst>
                <a:ext uri="{FF2B5EF4-FFF2-40B4-BE49-F238E27FC236}">
                  <a16:creationId xmlns:a16="http://schemas.microsoft.com/office/drawing/2014/main" id="{9D749AA1-6A51-42E5-AE46-7E077F242A04}"/>
                </a:ext>
              </a:extLst>
            </p:cNvPr>
            <p:cNvCxnSpPr/>
            <p:nvPr/>
          </p:nvCxnSpPr>
          <p:spPr>
            <a:xfrm flipH="1" flipV="1">
              <a:off x="119126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901881">
              <a:extLst>
                <a:ext uri="{FF2B5EF4-FFF2-40B4-BE49-F238E27FC236}">
                  <a16:creationId xmlns:a16="http://schemas.microsoft.com/office/drawing/2014/main" id="{AE3DE48C-493F-43B5-A6A2-3E39982A0DD8}"/>
                </a:ext>
              </a:extLst>
            </p:cNvPr>
            <p:cNvCxnSpPr/>
            <p:nvPr/>
          </p:nvCxnSpPr>
          <p:spPr>
            <a:xfrm flipH="1" flipV="1">
              <a:off x="2794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object 2"/>
          <p:cNvSpPr/>
          <p:nvPr/>
        </p:nvSpPr>
        <p:spPr>
          <a:xfrm>
            <a:off x="761" y="4874514"/>
            <a:ext cx="11857355" cy="0"/>
          </a:xfrm>
          <a:custGeom>
            <a:avLst/>
            <a:gdLst/>
            <a:ahLst/>
            <a:cxnLst/>
            <a:rect l="l" t="t" r="r" b="b"/>
            <a:pathLst>
              <a:path w="11857355">
                <a:moveTo>
                  <a:pt x="0" y="0"/>
                </a:moveTo>
                <a:lnTo>
                  <a:pt x="11856974" y="0"/>
                </a:lnTo>
              </a:path>
            </a:pathLst>
          </a:custGeom>
          <a:ln w="19050">
            <a:solidFill>
              <a:srgbClr val="B4B4B4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1" y="6098"/>
            <a:ext cx="12191999" cy="6851902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693216" y="4984907"/>
            <a:ext cx="7212534" cy="93551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it-IT" sz="2200" b="1" i="1" spc="-5" dirty="0">
                <a:solidFill>
                  <a:srgbClr val="FFFFFF"/>
                </a:solidFill>
              </a:rPr>
              <a:t>Il contesto di riferimento e la partnership con AGIDAE</a:t>
            </a:r>
            <a:br>
              <a:rPr lang="it-IT" sz="2200" b="1" i="1" spc="-5" dirty="0">
                <a:solidFill>
                  <a:srgbClr val="FFFFFF"/>
                </a:solidFill>
              </a:rPr>
            </a:br>
            <a:br>
              <a:rPr lang="it-IT" sz="2200" b="1" i="1" spc="-5" dirty="0">
                <a:solidFill>
                  <a:srgbClr val="FFFFFF"/>
                </a:solidFill>
              </a:rPr>
            </a:br>
            <a:r>
              <a:rPr lang="it-IT" sz="1600" b="1" i="1" spc="-5" dirty="0">
                <a:solidFill>
                  <a:srgbClr val="FFFFFF"/>
                </a:solidFill>
              </a:rPr>
              <a:t>Luglio 2023</a:t>
            </a:r>
            <a:endParaRPr sz="2200" b="1" i="1" dirty="0">
              <a:latin typeface="Arial"/>
              <a:cs typeface="Arial"/>
            </a:endParaRPr>
          </a:p>
        </p:txBody>
      </p:sp>
      <p:sp>
        <p:nvSpPr>
          <p:cNvPr id="15" name="Segnaposto numero diapositiva 14">
            <a:extLst>
              <a:ext uri="{FF2B5EF4-FFF2-40B4-BE49-F238E27FC236}">
                <a16:creationId xmlns:a16="http://schemas.microsoft.com/office/drawing/2014/main" id="{680338F5-51CD-4A30-907C-4306E98D468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8100">
              <a:lnSpc>
                <a:spcPct val="100000"/>
              </a:lnSpc>
              <a:spcBef>
                <a:spcPts val="15"/>
              </a:spcBef>
            </a:pPr>
            <a:fld id="{81D60167-4931-47E6-BA6A-407CBD079E47}" type="slidenum">
              <a:rPr lang="it-IT" spc="-5" smtClean="0"/>
              <a:t>1</a:t>
            </a:fld>
            <a:endParaRPr lang="it-IT" spc="-5"/>
          </a:p>
        </p:txBody>
      </p:sp>
    </p:spTree>
    <p:custDataLst>
      <p:tags r:id="rId2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09ECE7E5-1931-4067-A62D-EACC103540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018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Diapositiva think-cell" r:id="rId4" imgW="473" imgH="473" progId="TCLayout.ActiveDocument.1">
                  <p:embed/>
                </p:oleObj>
              </mc:Choice>
              <mc:Fallback>
                <p:oleObj name="Diapositiva think-cell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Elemento grafico 3">
            <a:extLst>
              <a:ext uri="{FF2B5EF4-FFF2-40B4-BE49-F238E27FC236}">
                <a16:creationId xmlns:a16="http://schemas.microsoft.com/office/drawing/2014/main" id="{D4B489E8-663D-456E-86E9-0ACFEC7CC656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-7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05905" y="575716"/>
            <a:ext cx="5531724" cy="5783821"/>
          </a:xfrm>
          <a:prstGeom prst="rect">
            <a:avLst/>
          </a:prstGeom>
        </p:spPr>
      </p:pic>
      <p:pic>
        <p:nvPicPr>
          <p:cNvPr id="7" name="Elemento grafico 6">
            <a:extLst>
              <a:ext uri="{FF2B5EF4-FFF2-40B4-BE49-F238E27FC236}">
                <a16:creationId xmlns:a16="http://schemas.microsoft.com/office/drawing/2014/main" id="{433FCAA4-A5C6-4F8B-B5CE-22FF94DFBAF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317" y="3776870"/>
            <a:ext cx="2843736" cy="2505414"/>
          </a:xfrm>
          <a:prstGeom prst="rect">
            <a:avLst/>
          </a:prstGeom>
        </p:spPr>
      </p:pic>
      <p:pic>
        <p:nvPicPr>
          <p:cNvPr id="8" name="Elemento grafico 7">
            <a:extLst>
              <a:ext uri="{FF2B5EF4-FFF2-40B4-BE49-F238E27FC236}">
                <a16:creationId xmlns:a16="http://schemas.microsoft.com/office/drawing/2014/main" id="{26859731-5B61-4793-8040-EAA450354D7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3316" y="575716"/>
            <a:ext cx="2199762" cy="1258110"/>
          </a:xfrm>
          <a:prstGeom prst="rect">
            <a:avLst/>
          </a:prstGeom>
        </p:spPr>
      </p:pic>
      <p:pic>
        <p:nvPicPr>
          <p:cNvPr id="9" name="Elemento grafico 8">
            <a:extLst>
              <a:ext uri="{FF2B5EF4-FFF2-40B4-BE49-F238E27FC236}">
                <a16:creationId xmlns:a16="http://schemas.microsoft.com/office/drawing/2014/main" id="{0688FC96-001A-4AEB-A21F-53C93695545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603350" y="575716"/>
            <a:ext cx="3025334" cy="1245726"/>
          </a:xfrm>
          <a:prstGeom prst="rect">
            <a:avLst/>
          </a:prstGeom>
        </p:spPr>
      </p:pic>
      <p:pic>
        <p:nvPicPr>
          <p:cNvPr id="11" name="Elemento grafico 10">
            <a:extLst>
              <a:ext uri="{FF2B5EF4-FFF2-40B4-BE49-F238E27FC236}">
                <a16:creationId xmlns:a16="http://schemas.microsoft.com/office/drawing/2014/main" id="{66C030E2-A210-4518-86DB-A412620817E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603350" y="4506891"/>
            <a:ext cx="3025333" cy="1775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64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357BA45D-231D-4C33-9645-FB2F019AC4B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58578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" name="Diapositiva think-cell" r:id="rId8" imgW="473" imgH="473" progId="TCLayout.ActiveDocument.1">
                  <p:embed/>
                </p:oleObj>
              </mc:Choice>
              <mc:Fallback>
                <p:oleObj name="Diapositiva think-cell" r:id="rId8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8" name="btfpColumnIndicatorGroup2">
            <a:extLst>
              <a:ext uri="{FF2B5EF4-FFF2-40B4-BE49-F238E27FC236}">
                <a16:creationId xmlns:a16="http://schemas.microsoft.com/office/drawing/2014/main" id="{5C462677-1A87-1329-DC8A-00E48874673A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6" name="btfpColumnGapBlocker709877">
              <a:extLst>
                <a:ext uri="{FF2B5EF4-FFF2-40B4-BE49-F238E27FC236}">
                  <a16:creationId xmlns:a16="http://schemas.microsoft.com/office/drawing/2014/main" id="{1AB62649-50C8-339E-3E9B-B28E39BE78E5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err="1">
                <a:solidFill>
                  <a:schemeClr val="tx1"/>
                </a:solidFill>
              </a:endParaRPr>
            </a:p>
          </p:txBody>
        </p:sp>
        <p:sp>
          <p:nvSpPr>
            <p:cNvPr id="104" name="btfpColumnGapBlocker548153">
              <a:extLst>
                <a:ext uri="{FF2B5EF4-FFF2-40B4-BE49-F238E27FC236}">
                  <a16:creationId xmlns:a16="http://schemas.microsoft.com/office/drawing/2014/main" id="{7C50D544-71FE-08D7-28AF-A5D237499971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2" name="btfpColumnIndicator703752">
              <a:extLst>
                <a:ext uri="{FF2B5EF4-FFF2-40B4-BE49-F238E27FC236}">
                  <a16:creationId xmlns:a16="http://schemas.microsoft.com/office/drawing/2014/main" id="{E4BC7529-372C-EBCB-BF9D-127DE0B7963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btfpColumnIndicator369780">
              <a:extLst>
                <a:ext uri="{FF2B5EF4-FFF2-40B4-BE49-F238E27FC236}">
                  <a16:creationId xmlns:a16="http://schemas.microsoft.com/office/drawing/2014/main" id="{8EC43FEE-26AA-A69E-30FE-DC6C4F356A16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btfpColumnGapBlocker436533">
              <a:extLst>
                <a:ext uri="{FF2B5EF4-FFF2-40B4-BE49-F238E27FC236}">
                  <a16:creationId xmlns:a16="http://schemas.microsoft.com/office/drawing/2014/main" id="{0C1245CB-CF3F-C60E-F025-1B2E8C78E57B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6" name="btfpColumnIndicator438746">
              <a:extLst>
                <a:ext uri="{FF2B5EF4-FFF2-40B4-BE49-F238E27FC236}">
                  <a16:creationId xmlns:a16="http://schemas.microsoft.com/office/drawing/2014/main" id="{D2557820-E00F-6896-7507-A37C6DF6807F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btfpColumnIndicator386466">
              <a:extLst>
                <a:ext uri="{FF2B5EF4-FFF2-40B4-BE49-F238E27FC236}">
                  <a16:creationId xmlns:a16="http://schemas.microsoft.com/office/drawing/2014/main" id="{3D6B2C5A-A2C5-7022-F3FD-C73C2C780A79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btfpColumnGapBlocker234511">
              <a:extLst>
                <a:ext uri="{FF2B5EF4-FFF2-40B4-BE49-F238E27FC236}">
                  <a16:creationId xmlns:a16="http://schemas.microsoft.com/office/drawing/2014/main" id="{B94183F1-D692-1C59-D542-4881A27B104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0" name="btfpColumnIndicator408953">
              <a:extLst>
                <a:ext uri="{FF2B5EF4-FFF2-40B4-BE49-F238E27FC236}">
                  <a16:creationId xmlns:a16="http://schemas.microsoft.com/office/drawing/2014/main" id="{CFF06C4B-E4F2-CD2D-58DB-20BB8808B540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btfpColumnIndicator360977">
              <a:extLst>
                <a:ext uri="{FF2B5EF4-FFF2-40B4-BE49-F238E27FC236}">
                  <a16:creationId xmlns:a16="http://schemas.microsoft.com/office/drawing/2014/main" id="{72BC937A-F161-2EDC-28C9-6FE9598010E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btfpColumnIndicatorGroup1">
            <a:extLst>
              <a:ext uri="{FF2B5EF4-FFF2-40B4-BE49-F238E27FC236}">
                <a16:creationId xmlns:a16="http://schemas.microsoft.com/office/drawing/2014/main" id="{12EA0863-1D3C-5013-FF67-CE130C93E8C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05" name="btfpColumnGapBlocker172244">
              <a:extLst>
                <a:ext uri="{FF2B5EF4-FFF2-40B4-BE49-F238E27FC236}">
                  <a16:creationId xmlns:a16="http://schemas.microsoft.com/office/drawing/2014/main" id="{18F8D015-A3A9-12A5-76D6-7717D32C599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err="1">
                <a:solidFill>
                  <a:schemeClr val="tx1"/>
                </a:solidFill>
              </a:endParaRPr>
            </a:p>
          </p:txBody>
        </p:sp>
        <p:sp>
          <p:nvSpPr>
            <p:cNvPr id="103" name="btfpColumnGapBlocker914737">
              <a:extLst>
                <a:ext uri="{FF2B5EF4-FFF2-40B4-BE49-F238E27FC236}">
                  <a16:creationId xmlns:a16="http://schemas.microsoft.com/office/drawing/2014/main" id="{ACDD86AE-FC8D-3C57-838E-B4F178D1417D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01" name="btfpColumnIndicator411444">
              <a:extLst>
                <a:ext uri="{FF2B5EF4-FFF2-40B4-BE49-F238E27FC236}">
                  <a16:creationId xmlns:a16="http://schemas.microsoft.com/office/drawing/2014/main" id="{F4895458-9300-5964-728B-AE8B5B03A25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btfpColumnIndicator266971">
              <a:extLst>
                <a:ext uri="{FF2B5EF4-FFF2-40B4-BE49-F238E27FC236}">
                  <a16:creationId xmlns:a16="http://schemas.microsoft.com/office/drawing/2014/main" id="{69D448C6-E699-EF55-0708-32EFFD0BC728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btfpColumnGapBlocker874738">
              <a:extLst>
                <a:ext uri="{FF2B5EF4-FFF2-40B4-BE49-F238E27FC236}">
                  <a16:creationId xmlns:a16="http://schemas.microsoft.com/office/drawing/2014/main" id="{87EA3E7E-58FA-1DF7-84BD-B4798E61E916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err="1">
                <a:solidFill>
                  <a:schemeClr val="tx1"/>
                </a:solidFill>
              </a:endParaRPr>
            </a:p>
          </p:txBody>
        </p:sp>
        <p:cxnSp>
          <p:nvCxnSpPr>
            <p:cNvPr id="95" name="btfpColumnIndicator602996">
              <a:extLst>
                <a:ext uri="{FF2B5EF4-FFF2-40B4-BE49-F238E27FC236}">
                  <a16:creationId xmlns:a16="http://schemas.microsoft.com/office/drawing/2014/main" id="{4C289D11-3240-068E-040F-CD97A7F6EBA2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btfpColumnIndicator821136">
              <a:extLst>
                <a:ext uri="{FF2B5EF4-FFF2-40B4-BE49-F238E27FC236}">
                  <a16:creationId xmlns:a16="http://schemas.microsoft.com/office/drawing/2014/main" id="{4F848BE3-5A81-F80A-75EA-7EE150D49E6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btfpColumnGapBlocker992330">
              <a:extLst>
                <a:ext uri="{FF2B5EF4-FFF2-40B4-BE49-F238E27FC236}">
                  <a16:creationId xmlns:a16="http://schemas.microsoft.com/office/drawing/2014/main" id="{0FE73E8B-C567-80E3-641B-F5CBA0933FE9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err="1">
                <a:solidFill>
                  <a:schemeClr val="tx1"/>
                </a:solidFill>
              </a:endParaRPr>
            </a:p>
          </p:txBody>
        </p:sp>
        <p:cxnSp>
          <p:nvCxnSpPr>
            <p:cNvPr id="89" name="btfpColumnIndicator214630">
              <a:extLst>
                <a:ext uri="{FF2B5EF4-FFF2-40B4-BE49-F238E27FC236}">
                  <a16:creationId xmlns:a16="http://schemas.microsoft.com/office/drawing/2014/main" id="{E664700B-E3F8-4FEF-20BD-2FB43224DF48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btfpColumnIndicator298120">
              <a:extLst>
                <a:ext uri="{FF2B5EF4-FFF2-40B4-BE49-F238E27FC236}">
                  <a16:creationId xmlns:a16="http://schemas.microsoft.com/office/drawing/2014/main" id="{761FC706-4253-20E8-EAA2-367BFED92F9C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CAB89BC-B7A8-2374-1E72-D33A6B27C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sz="2133" dirty="0"/>
              <a:t>La percentuali di laureati in Italia è più bassa della media europea, con solo ~30% degli Italiani tra 25 e 34 anni rispetto ad una media UE del 44%</a:t>
            </a:r>
          </a:p>
        </p:txBody>
      </p:sp>
      <p:grpSp>
        <p:nvGrpSpPr>
          <p:cNvPr id="15" name="btfpRunningAgenda1Level593628">
            <a:extLst>
              <a:ext uri="{FF2B5EF4-FFF2-40B4-BE49-F238E27FC236}">
                <a16:creationId xmlns:a16="http://schemas.microsoft.com/office/drawing/2014/main" id="{5C21E1E0-7CF4-EA3B-C5D6-19C27B83A8FC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-1" y="944429"/>
            <a:ext cx="4837175" cy="257442"/>
            <a:chOff x="0" y="876300"/>
            <a:chExt cx="2390105" cy="257442"/>
          </a:xfrm>
        </p:grpSpPr>
        <p:sp>
          <p:nvSpPr>
            <p:cNvPr id="16" name="btfpRunningAgenda1LevelBarLeft593628">
              <a:extLst>
                <a:ext uri="{FF2B5EF4-FFF2-40B4-BE49-F238E27FC236}">
                  <a16:creationId xmlns:a16="http://schemas.microsoft.com/office/drawing/2014/main" id="{F61D3508-E30C-24F8-EB93-5002E88163B2}"/>
                </a:ext>
              </a:extLst>
            </p:cNvPr>
            <p:cNvSpPr/>
            <p:nvPr/>
          </p:nvSpPr>
          <p:spPr bwMode="gray">
            <a:xfrm>
              <a:off x="0" y="876300"/>
              <a:ext cx="2390105" cy="257442"/>
            </a:xfrm>
            <a:custGeom>
              <a:avLst/>
              <a:gdLst>
                <a:gd name="connsiteX0" fmla="*/ 883475 w 2456470"/>
                <a:gd name="connsiteY0" fmla="*/ 0 h 257442"/>
                <a:gd name="connsiteX1" fmla="*/ 2456470 w 2456470"/>
                <a:gd name="connsiteY1" fmla="*/ 0 h 257442"/>
                <a:gd name="connsiteX2" fmla="*/ 2401749 w 2456470"/>
                <a:gd name="connsiteY2" fmla="*/ 257442 h 257442"/>
                <a:gd name="connsiteX3" fmla="*/ 0 w 2456470"/>
                <a:gd name="connsiteY3" fmla="*/ 257442 h 257442"/>
                <a:gd name="connsiteX0" fmla="*/ 883475 w 2401749"/>
                <a:gd name="connsiteY0" fmla="*/ 0 h 257442"/>
                <a:gd name="connsiteX1" fmla="*/ 828754 w 2401749"/>
                <a:gd name="connsiteY1" fmla="*/ 257442 h 257442"/>
                <a:gd name="connsiteX2" fmla="*/ 2401749 w 2401749"/>
                <a:gd name="connsiteY2" fmla="*/ 257442 h 257442"/>
                <a:gd name="connsiteX3" fmla="*/ 0 w 2401749"/>
                <a:gd name="connsiteY3" fmla="*/ 257442 h 257442"/>
                <a:gd name="connsiteX0" fmla="*/ 883475 w 883475"/>
                <a:gd name="connsiteY0" fmla="*/ 0 h 257442"/>
                <a:gd name="connsiteX1" fmla="*/ 828754 w 883475"/>
                <a:gd name="connsiteY1" fmla="*/ 257442 h 257442"/>
                <a:gd name="connsiteX2" fmla="*/ 1 w 883475"/>
                <a:gd name="connsiteY2" fmla="*/ 257442 h 257442"/>
                <a:gd name="connsiteX3" fmla="*/ 0 w 883475"/>
                <a:gd name="connsiteY3" fmla="*/ 257442 h 257442"/>
                <a:gd name="connsiteX0" fmla="*/ 883474 w 883474"/>
                <a:gd name="connsiteY0" fmla="*/ 0 h 257442"/>
                <a:gd name="connsiteX1" fmla="*/ 828753 w 883474"/>
                <a:gd name="connsiteY1" fmla="*/ 257442 h 257442"/>
                <a:gd name="connsiteX2" fmla="*/ 0 w 883474"/>
                <a:gd name="connsiteY2" fmla="*/ 257442 h 257442"/>
                <a:gd name="connsiteX3" fmla="*/ 0 w 883474"/>
                <a:gd name="connsiteY3" fmla="*/ 0 h 257442"/>
                <a:gd name="connsiteX0" fmla="*/ 1051789 w 1051789"/>
                <a:gd name="connsiteY0" fmla="*/ 0 h 257442"/>
                <a:gd name="connsiteX1" fmla="*/ 828753 w 1051789"/>
                <a:gd name="connsiteY1" fmla="*/ 257442 h 257442"/>
                <a:gd name="connsiteX2" fmla="*/ 0 w 1051789"/>
                <a:gd name="connsiteY2" fmla="*/ 257442 h 257442"/>
                <a:gd name="connsiteX3" fmla="*/ 0 w 1051789"/>
                <a:gd name="connsiteY3" fmla="*/ 0 h 257442"/>
                <a:gd name="connsiteX0" fmla="*/ 1051789 w 1051789"/>
                <a:gd name="connsiteY0" fmla="*/ 0 h 257442"/>
                <a:gd name="connsiteX1" fmla="*/ 997068 w 1051789"/>
                <a:gd name="connsiteY1" fmla="*/ 257442 h 257442"/>
                <a:gd name="connsiteX2" fmla="*/ 0 w 1051789"/>
                <a:gd name="connsiteY2" fmla="*/ 257442 h 257442"/>
                <a:gd name="connsiteX3" fmla="*/ 0 w 1051789"/>
                <a:gd name="connsiteY3" fmla="*/ 0 h 257442"/>
                <a:gd name="connsiteX0" fmla="*/ 1051790 w 1051790"/>
                <a:gd name="connsiteY0" fmla="*/ 0 h 257442"/>
                <a:gd name="connsiteX1" fmla="*/ 997069 w 1051790"/>
                <a:gd name="connsiteY1" fmla="*/ 257442 h 257442"/>
                <a:gd name="connsiteX2" fmla="*/ 0 w 1051790"/>
                <a:gd name="connsiteY2" fmla="*/ 257442 h 257442"/>
                <a:gd name="connsiteX3" fmla="*/ 1 w 1051790"/>
                <a:gd name="connsiteY3" fmla="*/ 0 h 257442"/>
                <a:gd name="connsiteX0" fmla="*/ 1051790 w 1051790"/>
                <a:gd name="connsiteY0" fmla="*/ 0 h 257442"/>
                <a:gd name="connsiteX1" fmla="*/ 997069 w 1051790"/>
                <a:gd name="connsiteY1" fmla="*/ 257442 h 257442"/>
                <a:gd name="connsiteX2" fmla="*/ 0 w 1051790"/>
                <a:gd name="connsiteY2" fmla="*/ 257442 h 257442"/>
                <a:gd name="connsiteX3" fmla="*/ 0 w 1051790"/>
                <a:gd name="connsiteY3" fmla="*/ 0 h 257442"/>
                <a:gd name="connsiteX0" fmla="*/ 883475 w 997069"/>
                <a:gd name="connsiteY0" fmla="*/ 0 h 257442"/>
                <a:gd name="connsiteX1" fmla="*/ 997069 w 997069"/>
                <a:gd name="connsiteY1" fmla="*/ 257442 h 257442"/>
                <a:gd name="connsiteX2" fmla="*/ 0 w 997069"/>
                <a:gd name="connsiteY2" fmla="*/ 257442 h 257442"/>
                <a:gd name="connsiteX3" fmla="*/ 0 w 997069"/>
                <a:gd name="connsiteY3" fmla="*/ 0 h 257442"/>
                <a:gd name="connsiteX0" fmla="*/ 883475 w 883475"/>
                <a:gd name="connsiteY0" fmla="*/ 0 h 257442"/>
                <a:gd name="connsiteX1" fmla="*/ 828755 w 883475"/>
                <a:gd name="connsiteY1" fmla="*/ 257442 h 257442"/>
                <a:gd name="connsiteX2" fmla="*/ 0 w 883475"/>
                <a:gd name="connsiteY2" fmla="*/ 257442 h 257442"/>
                <a:gd name="connsiteX3" fmla="*/ 0 w 883475"/>
                <a:gd name="connsiteY3" fmla="*/ 0 h 257442"/>
                <a:gd name="connsiteX0" fmla="*/ 883475 w 883475"/>
                <a:gd name="connsiteY0" fmla="*/ 0 h 257442"/>
                <a:gd name="connsiteX1" fmla="*/ 828755 w 883475"/>
                <a:gd name="connsiteY1" fmla="*/ 257442 h 257442"/>
                <a:gd name="connsiteX2" fmla="*/ 1 w 883475"/>
                <a:gd name="connsiteY2" fmla="*/ 257442 h 257442"/>
                <a:gd name="connsiteX3" fmla="*/ 0 w 883475"/>
                <a:gd name="connsiteY3" fmla="*/ 0 h 257442"/>
                <a:gd name="connsiteX0" fmla="*/ 883474 w 883474"/>
                <a:gd name="connsiteY0" fmla="*/ 0 h 257442"/>
                <a:gd name="connsiteX1" fmla="*/ 828754 w 883474"/>
                <a:gd name="connsiteY1" fmla="*/ 257442 h 257442"/>
                <a:gd name="connsiteX2" fmla="*/ 0 w 883474"/>
                <a:gd name="connsiteY2" fmla="*/ 257442 h 257442"/>
                <a:gd name="connsiteX3" fmla="*/ 0 w 883474"/>
                <a:gd name="connsiteY3" fmla="*/ 0 h 257442"/>
                <a:gd name="connsiteX0" fmla="*/ 1192661 w 1192661"/>
                <a:gd name="connsiteY0" fmla="*/ 0 h 257442"/>
                <a:gd name="connsiteX1" fmla="*/ 828754 w 1192661"/>
                <a:gd name="connsiteY1" fmla="*/ 257442 h 257442"/>
                <a:gd name="connsiteX2" fmla="*/ 0 w 1192661"/>
                <a:gd name="connsiteY2" fmla="*/ 257442 h 257442"/>
                <a:gd name="connsiteX3" fmla="*/ 0 w 1192661"/>
                <a:gd name="connsiteY3" fmla="*/ 0 h 257442"/>
                <a:gd name="connsiteX0" fmla="*/ 1192661 w 1192661"/>
                <a:gd name="connsiteY0" fmla="*/ 0 h 257442"/>
                <a:gd name="connsiteX1" fmla="*/ 1137940 w 1192661"/>
                <a:gd name="connsiteY1" fmla="*/ 257442 h 257442"/>
                <a:gd name="connsiteX2" fmla="*/ 0 w 1192661"/>
                <a:gd name="connsiteY2" fmla="*/ 257442 h 257442"/>
                <a:gd name="connsiteX3" fmla="*/ 0 w 1192661"/>
                <a:gd name="connsiteY3" fmla="*/ 0 h 257442"/>
                <a:gd name="connsiteX0" fmla="*/ 1192662 w 1192662"/>
                <a:gd name="connsiteY0" fmla="*/ 0 h 257442"/>
                <a:gd name="connsiteX1" fmla="*/ 1137941 w 1192662"/>
                <a:gd name="connsiteY1" fmla="*/ 257442 h 257442"/>
                <a:gd name="connsiteX2" fmla="*/ 0 w 1192662"/>
                <a:gd name="connsiteY2" fmla="*/ 257442 h 257442"/>
                <a:gd name="connsiteX3" fmla="*/ 1 w 1192662"/>
                <a:gd name="connsiteY3" fmla="*/ 0 h 257442"/>
                <a:gd name="connsiteX0" fmla="*/ 1192662 w 1192662"/>
                <a:gd name="connsiteY0" fmla="*/ 0 h 257442"/>
                <a:gd name="connsiteX1" fmla="*/ 1137941 w 1192662"/>
                <a:gd name="connsiteY1" fmla="*/ 257442 h 257442"/>
                <a:gd name="connsiteX2" fmla="*/ 0 w 1192662"/>
                <a:gd name="connsiteY2" fmla="*/ 257442 h 257442"/>
                <a:gd name="connsiteX3" fmla="*/ 0 w 1192662"/>
                <a:gd name="connsiteY3" fmla="*/ 0 h 257442"/>
                <a:gd name="connsiteX0" fmla="*/ 1445937 w 1445937"/>
                <a:gd name="connsiteY0" fmla="*/ 0 h 257442"/>
                <a:gd name="connsiteX1" fmla="*/ 1137941 w 1445937"/>
                <a:gd name="connsiteY1" fmla="*/ 257442 h 257442"/>
                <a:gd name="connsiteX2" fmla="*/ 0 w 1445937"/>
                <a:gd name="connsiteY2" fmla="*/ 257442 h 257442"/>
                <a:gd name="connsiteX3" fmla="*/ 0 w 1445937"/>
                <a:gd name="connsiteY3" fmla="*/ 0 h 257442"/>
                <a:gd name="connsiteX0" fmla="*/ 1445937 w 1445937"/>
                <a:gd name="connsiteY0" fmla="*/ 0 h 257442"/>
                <a:gd name="connsiteX1" fmla="*/ 1391216 w 1445937"/>
                <a:gd name="connsiteY1" fmla="*/ 257442 h 257442"/>
                <a:gd name="connsiteX2" fmla="*/ 0 w 1445937"/>
                <a:gd name="connsiteY2" fmla="*/ 257442 h 257442"/>
                <a:gd name="connsiteX3" fmla="*/ 0 w 1445937"/>
                <a:gd name="connsiteY3" fmla="*/ 0 h 257442"/>
                <a:gd name="connsiteX0" fmla="*/ 1445937 w 1445937"/>
                <a:gd name="connsiteY0" fmla="*/ 0 h 257442"/>
                <a:gd name="connsiteX1" fmla="*/ 1391216 w 1445937"/>
                <a:gd name="connsiteY1" fmla="*/ 257442 h 257442"/>
                <a:gd name="connsiteX2" fmla="*/ 0 w 1445937"/>
                <a:gd name="connsiteY2" fmla="*/ 257442 h 257442"/>
                <a:gd name="connsiteX3" fmla="*/ 0 w 1445937"/>
                <a:gd name="connsiteY3" fmla="*/ 0 h 257442"/>
                <a:gd name="connsiteX0" fmla="*/ 1445937 w 1445937"/>
                <a:gd name="connsiteY0" fmla="*/ 0 h 257442"/>
                <a:gd name="connsiteX1" fmla="*/ 1391216 w 1445937"/>
                <a:gd name="connsiteY1" fmla="*/ 257442 h 257442"/>
                <a:gd name="connsiteX2" fmla="*/ 0 w 1445937"/>
                <a:gd name="connsiteY2" fmla="*/ 257442 h 257442"/>
                <a:gd name="connsiteX3" fmla="*/ 0 w 1445937"/>
                <a:gd name="connsiteY3" fmla="*/ 0 h 257442"/>
                <a:gd name="connsiteX0" fmla="*/ 1614252 w 1614252"/>
                <a:gd name="connsiteY0" fmla="*/ 0 h 257442"/>
                <a:gd name="connsiteX1" fmla="*/ 1391216 w 1614252"/>
                <a:gd name="connsiteY1" fmla="*/ 257442 h 257442"/>
                <a:gd name="connsiteX2" fmla="*/ 0 w 1614252"/>
                <a:gd name="connsiteY2" fmla="*/ 257442 h 257442"/>
                <a:gd name="connsiteX3" fmla="*/ 0 w 1614252"/>
                <a:gd name="connsiteY3" fmla="*/ 0 h 257442"/>
                <a:gd name="connsiteX0" fmla="*/ 1614252 w 1614252"/>
                <a:gd name="connsiteY0" fmla="*/ 0 h 257442"/>
                <a:gd name="connsiteX1" fmla="*/ 1559530 w 1614252"/>
                <a:gd name="connsiteY1" fmla="*/ 257442 h 257442"/>
                <a:gd name="connsiteX2" fmla="*/ 0 w 1614252"/>
                <a:gd name="connsiteY2" fmla="*/ 257442 h 257442"/>
                <a:gd name="connsiteX3" fmla="*/ 0 w 1614252"/>
                <a:gd name="connsiteY3" fmla="*/ 0 h 257442"/>
                <a:gd name="connsiteX0" fmla="*/ 1614253 w 1614253"/>
                <a:gd name="connsiteY0" fmla="*/ 0 h 257442"/>
                <a:gd name="connsiteX1" fmla="*/ 1559531 w 1614253"/>
                <a:gd name="connsiteY1" fmla="*/ 257442 h 257442"/>
                <a:gd name="connsiteX2" fmla="*/ 0 w 1614253"/>
                <a:gd name="connsiteY2" fmla="*/ 257442 h 257442"/>
                <a:gd name="connsiteX3" fmla="*/ 1 w 1614253"/>
                <a:gd name="connsiteY3" fmla="*/ 0 h 257442"/>
                <a:gd name="connsiteX0" fmla="*/ 1614253 w 1614253"/>
                <a:gd name="connsiteY0" fmla="*/ 0 h 257442"/>
                <a:gd name="connsiteX1" fmla="*/ 1559531 w 1614253"/>
                <a:gd name="connsiteY1" fmla="*/ 257442 h 257442"/>
                <a:gd name="connsiteX2" fmla="*/ 0 w 1614253"/>
                <a:gd name="connsiteY2" fmla="*/ 257442 h 257442"/>
                <a:gd name="connsiteX3" fmla="*/ 1 w 1614253"/>
                <a:gd name="connsiteY3" fmla="*/ 0 h 257442"/>
                <a:gd name="connsiteX0" fmla="*/ 1782568 w 1782568"/>
                <a:gd name="connsiteY0" fmla="*/ 0 h 257442"/>
                <a:gd name="connsiteX1" fmla="*/ 1559531 w 1782568"/>
                <a:gd name="connsiteY1" fmla="*/ 257442 h 257442"/>
                <a:gd name="connsiteX2" fmla="*/ 0 w 1782568"/>
                <a:gd name="connsiteY2" fmla="*/ 257442 h 257442"/>
                <a:gd name="connsiteX3" fmla="*/ 1 w 1782568"/>
                <a:gd name="connsiteY3" fmla="*/ 0 h 257442"/>
                <a:gd name="connsiteX0" fmla="*/ 1782568 w 1782568"/>
                <a:gd name="connsiteY0" fmla="*/ 0 h 257442"/>
                <a:gd name="connsiteX1" fmla="*/ 1727846 w 1782568"/>
                <a:gd name="connsiteY1" fmla="*/ 257442 h 257442"/>
                <a:gd name="connsiteX2" fmla="*/ 0 w 1782568"/>
                <a:gd name="connsiteY2" fmla="*/ 257442 h 257442"/>
                <a:gd name="connsiteX3" fmla="*/ 1 w 1782568"/>
                <a:gd name="connsiteY3" fmla="*/ 0 h 257442"/>
                <a:gd name="connsiteX0" fmla="*/ 1782568 w 1782568"/>
                <a:gd name="connsiteY0" fmla="*/ 0 h 257442"/>
                <a:gd name="connsiteX1" fmla="*/ 1727846 w 1782568"/>
                <a:gd name="connsiteY1" fmla="*/ 257442 h 257442"/>
                <a:gd name="connsiteX2" fmla="*/ 0 w 1782568"/>
                <a:gd name="connsiteY2" fmla="*/ 257442 h 257442"/>
                <a:gd name="connsiteX3" fmla="*/ 1 w 1782568"/>
                <a:gd name="connsiteY3" fmla="*/ 0 h 257442"/>
                <a:gd name="connsiteX0" fmla="*/ 1782568 w 1782568"/>
                <a:gd name="connsiteY0" fmla="*/ 0 h 257442"/>
                <a:gd name="connsiteX1" fmla="*/ 1727846 w 1782568"/>
                <a:gd name="connsiteY1" fmla="*/ 257442 h 257442"/>
                <a:gd name="connsiteX2" fmla="*/ 0 w 1782568"/>
                <a:gd name="connsiteY2" fmla="*/ 257442 h 257442"/>
                <a:gd name="connsiteX3" fmla="*/ 0 w 1782568"/>
                <a:gd name="connsiteY3" fmla="*/ 0 h 257442"/>
                <a:gd name="connsiteX0" fmla="*/ 2061490 w 2061490"/>
                <a:gd name="connsiteY0" fmla="*/ 0 h 257442"/>
                <a:gd name="connsiteX1" fmla="*/ 1727846 w 2061490"/>
                <a:gd name="connsiteY1" fmla="*/ 257442 h 257442"/>
                <a:gd name="connsiteX2" fmla="*/ 0 w 2061490"/>
                <a:gd name="connsiteY2" fmla="*/ 257442 h 257442"/>
                <a:gd name="connsiteX3" fmla="*/ 0 w 2061490"/>
                <a:gd name="connsiteY3" fmla="*/ 0 h 257442"/>
                <a:gd name="connsiteX0" fmla="*/ 2061490 w 2061490"/>
                <a:gd name="connsiteY0" fmla="*/ 0 h 257442"/>
                <a:gd name="connsiteX1" fmla="*/ 2006769 w 2061490"/>
                <a:gd name="connsiteY1" fmla="*/ 257442 h 257442"/>
                <a:gd name="connsiteX2" fmla="*/ 0 w 2061490"/>
                <a:gd name="connsiteY2" fmla="*/ 257442 h 257442"/>
                <a:gd name="connsiteX3" fmla="*/ 0 w 2061490"/>
                <a:gd name="connsiteY3" fmla="*/ 0 h 257442"/>
                <a:gd name="connsiteX0" fmla="*/ 2061490 w 2061490"/>
                <a:gd name="connsiteY0" fmla="*/ 0 h 257442"/>
                <a:gd name="connsiteX1" fmla="*/ 2006769 w 2061490"/>
                <a:gd name="connsiteY1" fmla="*/ 257442 h 257442"/>
                <a:gd name="connsiteX2" fmla="*/ 0 w 2061490"/>
                <a:gd name="connsiteY2" fmla="*/ 257442 h 257442"/>
                <a:gd name="connsiteX3" fmla="*/ 0 w 2061490"/>
                <a:gd name="connsiteY3" fmla="*/ 0 h 257442"/>
                <a:gd name="connsiteX0" fmla="*/ 2061490 w 2061490"/>
                <a:gd name="connsiteY0" fmla="*/ 0 h 257442"/>
                <a:gd name="connsiteX1" fmla="*/ 2006769 w 2061490"/>
                <a:gd name="connsiteY1" fmla="*/ 257442 h 257442"/>
                <a:gd name="connsiteX2" fmla="*/ 0 w 2061490"/>
                <a:gd name="connsiteY2" fmla="*/ 257442 h 257442"/>
                <a:gd name="connsiteX3" fmla="*/ 0 w 2061490"/>
                <a:gd name="connsiteY3" fmla="*/ 0 h 257442"/>
                <a:gd name="connsiteX0" fmla="*/ 2229805 w 2229805"/>
                <a:gd name="connsiteY0" fmla="*/ 0 h 257442"/>
                <a:gd name="connsiteX1" fmla="*/ 2006769 w 2229805"/>
                <a:gd name="connsiteY1" fmla="*/ 257442 h 257442"/>
                <a:gd name="connsiteX2" fmla="*/ 0 w 2229805"/>
                <a:gd name="connsiteY2" fmla="*/ 257442 h 257442"/>
                <a:gd name="connsiteX3" fmla="*/ 0 w 2229805"/>
                <a:gd name="connsiteY3" fmla="*/ 0 h 257442"/>
                <a:gd name="connsiteX0" fmla="*/ 2229805 w 2229805"/>
                <a:gd name="connsiteY0" fmla="*/ 0 h 257442"/>
                <a:gd name="connsiteX1" fmla="*/ 2175084 w 2229805"/>
                <a:gd name="connsiteY1" fmla="*/ 257442 h 257442"/>
                <a:gd name="connsiteX2" fmla="*/ 0 w 2229805"/>
                <a:gd name="connsiteY2" fmla="*/ 257442 h 257442"/>
                <a:gd name="connsiteX3" fmla="*/ 0 w 2229805"/>
                <a:gd name="connsiteY3" fmla="*/ 0 h 257442"/>
                <a:gd name="connsiteX0" fmla="*/ 2229805 w 2229805"/>
                <a:gd name="connsiteY0" fmla="*/ 0 h 257442"/>
                <a:gd name="connsiteX1" fmla="*/ 2175084 w 2229805"/>
                <a:gd name="connsiteY1" fmla="*/ 257442 h 257442"/>
                <a:gd name="connsiteX2" fmla="*/ 0 w 2229805"/>
                <a:gd name="connsiteY2" fmla="*/ 257442 h 257442"/>
                <a:gd name="connsiteX3" fmla="*/ 0 w 2229805"/>
                <a:gd name="connsiteY3" fmla="*/ 0 h 257442"/>
                <a:gd name="connsiteX0" fmla="*/ 2229805 w 2229805"/>
                <a:gd name="connsiteY0" fmla="*/ 0 h 257442"/>
                <a:gd name="connsiteX1" fmla="*/ 2175084 w 2229805"/>
                <a:gd name="connsiteY1" fmla="*/ 257442 h 257442"/>
                <a:gd name="connsiteX2" fmla="*/ 0 w 2229805"/>
                <a:gd name="connsiteY2" fmla="*/ 257442 h 257442"/>
                <a:gd name="connsiteX3" fmla="*/ 0 w 2229805"/>
                <a:gd name="connsiteY3" fmla="*/ 0 h 257442"/>
                <a:gd name="connsiteX0" fmla="*/ 2390105 w 2390105"/>
                <a:gd name="connsiteY0" fmla="*/ 0 h 257442"/>
                <a:gd name="connsiteX1" fmla="*/ 2175084 w 2390105"/>
                <a:gd name="connsiteY1" fmla="*/ 257442 h 257442"/>
                <a:gd name="connsiteX2" fmla="*/ 0 w 2390105"/>
                <a:gd name="connsiteY2" fmla="*/ 257442 h 257442"/>
                <a:gd name="connsiteX3" fmla="*/ 0 w 2390105"/>
                <a:gd name="connsiteY3" fmla="*/ 0 h 257442"/>
                <a:gd name="connsiteX0" fmla="*/ 2390105 w 2390105"/>
                <a:gd name="connsiteY0" fmla="*/ 0 h 257442"/>
                <a:gd name="connsiteX1" fmla="*/ 2335384 w 2390105"/>
                <a:gd name="connsiteY1" fmla="*/ 257442 h 257442"/>
                <a:gd name="connsiteX2" fmla="*/ 0 w 2390105"/>
                <a:gd name="connsiteY2" fmla="*/ 257442 h 257442"/>
                <a:gd name="connsiteX3" fmla="*/ 0 w 2390105"/>
                <a:gd name="connsiteY3" fmla="*/ 0 h 257442"/>
                <a:gd name="connsiteX0" fmla="*/ 2390105 w 2390105"/>
                <a:gd name="connsiteY0" fmla="*/ 0 h 257442"/>
                <a:gd name="connsiteX1" fmla="*/ 2335384 w 2390105"/>
                <a:gd name="connsiteY1" fmla="*/ 257442 h 257442"/>
                <a:gd name="connsiteX2" fmla="*/ 0 w 2390105"/>
                <a:gd name="connsiteY2" fmla="*/ 257442 h 257442"/>
                <a:gd name="connsiteX3" fmla="*/ 0 w 2390105"/>
                <a:gd name="connsiteY3" fmla="*/ 0 h 257442"/>
                <a:gd name="connsiteX0" fmla="*/ 2390105 w 2390105"/>
                <a:gd name="connsiteY0" fmla="*/ 0 h 257442"/>
                <a:gd name="connsiteX1" fmla="*/ 2335384 w 2390105"/>
                <a:gd name="connsiteY1" fmla="*/ 257442 h 257442"/>
                <a:gd name="connsiteX2" fmla="*/ 0 w 2390105"/>
                <a:gd name="connsiteY2" fmla="*/ 257442 h 257442"/>
                <a:gd name="connsiteX3" fmla="*/ 0 w 239010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0105" h="257442">
                  <a:moveTo>
                    <a:pt x="2390105" y="0"/>
                  </a:moveTo>
                  <a:lnTo>
                    <a:pt x="233538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7" name="btfpRunningAgenda1LevelTextLeft593628">
              <a:extLst>
                <a:ext uri="{FF2B5EF4-FFF2-40B4-BE49-F238E27FC236}">
                  <a16:creationId xmlns:a16="http://schemas.microsoft.com/office/drawing/2014/main" id="{A004634D-C490-B28A-51B4-1C000A48FFF3}"/>
                </a:ext>
              </a:extLst>
            </p:cNvPr>
            <p:cNvSpPr txBox="1"/>
            <p:nvPr/>
          </p:nvSpPr>
          <p:spPr bwMode="gray">
            <a:xfrm>
              <a:off x="0" y="876300"/>
              <a:ext cx="192477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200" b="1" cap="all" spc="450" dirty="0">
                  <a:solidFill>
                    <a:srgbClr val="FFFFFF"/>
                  </a:solidFill>
                </a:rPr>
                <a:t>Gap </a:t>
              </a:r>
              <a:r>
                <a:rPr lang="en-US" sz="1200" b="1" cap="all" spc="450" dirty="0" err="1">
                  <a:solidFill>
                    <a:srgbClr val="FFFFFF"/>
                  </a:solidFill>
                </a:rPr>
                <a:t>strutturale</a:t>
              </a:r>
              <a:r>
                <a:rPr lang="en-US" sz="1200" b="1" cap="all" spc="450" dirty="0">
                  <a:solidFill>
                    <a:srgbClr val="FFFFFF"/>
                  </a:solidFill>
                </a:rPr>
                <a:t> sui </a:t>
              </a:r>
              <a:r>
                <a:rPr lang="en-US" sz="1200" b="1" cap="all" spc="450" dirty="0" err="1">
                  <a:solidFill>
                    <a:srgbClr val="FFFFFF"/>
                  </a:solidFill>
                </a:rPr>
                <a:t>laureati</a:t>
              </a:r>
              <a:endParaRPr lang="en-US" sz="1200" b="1" cap="all" spc="45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1" name="btfpColumnHeaderBox210743">
            <a:extLst>
              <a:ext uri="{FF2B5EF4-FFF2-40B4-BE49-F238E27FC236}">
                <a16:creationId xmlns:a16="http://schemas.microsoft.com/office/drawing/2014/main" id="{46AC2018-5552-F0EF-E978-001E568E9BDD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30599" y="1356876"/>
            <a:ext cx="11522075" cy="315913"/>
            <a:chOff x="330200" y="1020696"/>
            <a:chExt cx="3483504" cy="315913"/>
          </a:xfrm>
        </p:grpSpPr>
        <p:sp>
          <p:nvSpPr>
            <p:cNvPr id="42" name="btfpColumnHeaderBoxText210743">
              <a:extLst>
                <a:ext uri="{FF2B5EF4-FFF2-40B4-BE49-F238E27FC236}">
                  <a16:creationId xmlns:a16="http://schemas.microsoft.com/office/drawing/2014/main" id="{24D9E40A-BF9A-E44D-8BB5-7BE63E98843C}"/>
                </a:ext>
              </a:extLst>
            </p:cNvPr>
            <p:cNvSpPr txBox="1"/>
            <p:nvPr/>
          </p:nvSpPr>
          <p:spPr bwMode="gray">
            <a:xfrm>
              <a:off x="330200" y="1020696"/>
              <a:ext cx="3483504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it-IT" sz="1600" b="1" dirty="0">
                  <a:solidFill>
                    <a:srgbClr val="000000"/>
                  </a:solidFill>
                </a:rPr>
                <a:t>% di Laureati </a:t>
              </a:r>
              <a:r>
                <a:rPr lang="it-IT" b="1" dirty="0">
                  <a:solidFill>
                    <a:srgbClr val="000000"/>
                  </a:solidFill>
                </a:rPr>
                <a:t>tra i </a:t>
              </a:r>
              <a:r>
                <a:rPr lang="it-IT" sz="1600" b="1" dirty="0">
                  <a:solidFill>
                    <a:srgbClr val="000000"/>
                  </a:solidFill>
                </a:rPr>
                <a:t>25-34 anni per paese (% | 2020)</a:t>
              </a:r>
            </a:p>
          </p:txBody>
        </p:sp>
        <p:cxnSp>
          <p:nvCxnSpPr>
            <p:cNvPr id="43" name="btfpColumnHeaderBoxLine210743">
              <a:extLst>
                <a:ext uri="{FF2B5EF4-FFF2-40B4-BE49-F238E27FC236}">
                  <a16:creationId xmlns:a16="http://schemas.microsoft.com/office/drawing/2014/main" id="{0A219A8A-B3C6-F7A8-E670-7D37D98568CA}"/>
                </a:ext>
              </a:extLst>
            </p:cNvPr>
            <p:cNvCxnSpPr/>
            <p:nvPr/>
          </p:nvCxnSpPr>
          <p:spPr bwMode="gray">
            <a:xfrm>
              <a:off x="330200" y="1336609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Rectangle 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aYhHdubK/b9WYMbiqTQFZNRdTaHJ1Coz+gznC5J29/l+uni9WCTqRMIgVGBy5FSCqTCP+Vdrf4pg20L7fH6DBGAMMAjE576QmNnLuvBsiT+uXs4+q81fqlYZ7Do1O1K/qLZLIQOsf0MlETlAF3Cvo9BqihyT3gV2BentSLhd812sJtjjz82kzCS38LHe8UP7G0ZvXs4CKCWBVPDJ/cTMAGfSC0cexqOYeoxCPI4OWQ2Ttg2tEw7cR/U7ClEmP3U2jaC2Q3N0y0cqajrKbRRB43wuBbPvogxxIdP954VHc/Dz5RG8CGrJg8ZTQMfNSoqEJvPiv39nLY6dsdDAJWjIigD2h3wq9eUADtpL/grfQdaviby6w6eR2A9wfNSgk8bFzilJvAakv0v+7h2cH8tuVH12SdwIaB6ZH+ops5HYXceeo7egjEbjxzqR52VENIZPZ7K9W53ruzvvzN3V5ql5tOGibThhwgkRfOV28ObiGAc2HTMEv9D1o/5ywv6Uica1NeZn2pG7woqxywR4nQKf4gbDzMxNXi3UqEtnpLzg5101FtUytXBxE7+esEw+zrQAgan7nvby+UKxaflER1Q2ykNBSGuzMy0NKJ8vFuHRkCwyJzqANNbcbH6hg/Y/nBipHCUYtpvKIgqJB5R2zXJdKOVgyyxQ5HJYeuO/gw28o6xClwNcDjjGmvKZ9CMZQONXc3+yDgt52ICPI9eoQ7ufdwqPFjfZ3QqZIHKXNJxLyP24nXzbxCgQ7cJs6u7s6HJS60zlc9BVh/+v9PZQvGVE0lPpMbpdqCrWzOO8c6aMptO6mcwZ+rAAiN1kk1l20w9wd+US06q2vwwUCX9FrWq87d+xJ/LT9TFENR4G2VTFUEms8e+RLOeP2CNOtpAT6UwFjKWCRf2qR8TN3GjPNCKyrxq/6ZFG+ilcvTfVc35/FJ6tJ1x7rPyr067JIij7D74VEtwSxVc9cDH6VI/5f3O6tYjrN8ayl74jLQsDAw0U20CVrEuRg5zuus+zT3mi/Unt7LW5/0JSaHOpU3O3YDothkJQSQfDOyVnudLTRlZh0Qu0DRucjLsEU1bXKw7tbHjfQ9wwLPcV32lozrZxiRJPvb9wwYzdtztY3/rI1VN9uB3KZcjraa1bxZf3Itpyx3tlWGFHXccv8RT/4q6/EEjOtciOcE0hErmqv8kVrtfinQe9DL3sY4olBNLR60S8b6eKvh0g4/7EidsVdlyZ+/eVRp1wRXegKnYDklxdRcLHAV+G4IpHPPNrOAxGXtqLFYu8rv9mmlv5w7Lx7ChBmi7BLQKq1W29REYh9kyJyJ+jo2W9J1HQJ85iFBNTweIvcl6YbfOfAbssV5s6/GrIz2hVJ6XdnbQ2VY8AHuaFSyz55fhix2Lu4Ce/CqW0rWgz1t99pqyOaLgH8rQsaDg5pIjeEmttUwdQQA+qS6OKj3ewl2phXohlIloDcV5ES/ICt1x/e4lnnxBTveeBtbM+7+gxKL5M+QcJ1vHbbZnnWcgOYvDtWGiTnszvU7bXevBTf5e8n4NdNwKAYJBZLcM95xADDmH5hunMyt0bFbt/DZfAIXYaXdE0Xop/U45c++eHNJQ9kC1sS2Et5qAP8XhqPBb7iJfudtrZ/DbdILy+tRfbwTldqUGl/8oETb1lJ+dLgUJz58UV5V+sBzaI5gkJegkublnCUkVd+x2iR2h0It2tLGEk2alcGD3Espb/x7MYPjzeDCtIiES2p60hw4/AE82CBShZ9uwToIjla4rGogaFm2DFRHIh0XfZMaJ1msYsKd1Y3FmafSwEjuhIJ87jA60/qnTs7BSSgfIxLcYJBs+RAFmtBYhR0rzHj8QLjEi7WE5hbo3wJfbIKBOXcWP5kqg+hdCDSliCymI4+vPKn8pHvZFGI/TA2gzs/xCbREEVqJseGl8Kp2oqKdRpQhLU0r3XiGLAl5sCGs712eDMjnk73HtHNXDeNbrsm4BY4JS5lVHfQthYJ/41WhZiG3VAI91IRzOXXC8xK/BMDqMEEiXqFIr93Cwb3pmnu0eBZAO4tFOelAzqPRZXsakv1e8B9eoSq20vyNtJscdssMrxgjuSnxC4lHyoNP/jds4Qev2HfhYrl4bGvo7AUS5QpuMKcfD/f7wIu0C6ZACmWOm4B5mCcSRRrtwTNnUScvOPiORtKvyns4/FCI6HZ/g0mii9RkwKlI5/Oox5nVew5FFs2PUIrkx6IEC30mbRJmvcwa3ZBCkFoHyzmu8XCY0hzeUHEg/pY9mctS+gIER6Dp+aSvdf63utDLkRbK68pHelus1aPSOjF4Xr/vonOoDohtKBMBijuAoyz0GURo+j8HVW0ZTsSo7iU2EYHZFonFilk0p9eGD1Uk8MMJt+AjTtjYmuCEOV8ALJH5buGzh6mJ3aapz9s5t3+wjBEkVnT4eYY1cL37kzsbly4+NAG/B8KRLSvD5RfJdlzNHpIDQ1eAYJof++ywE5NkVA1cIhBbKPNhZQ/IIvI44LXHFWLRzXkpMi+cj6U2dz7DruItZ4TrWEmWXhAskYR7jSLXPwsF+84pPmyekw0o3TJfpAka4t8VxsnaeF47wR6DWfcELwwAdcDjs6t4LFMXrufKsjpaNCo/g+sveiWBbavxyhCiYPX8yNH1KTbTi8c5sFgdNmvQ2DAJosO2Pj2fd/uULOu8VkSwaBBr69GvcYQHavZwHIqB5nh1TkEN6GDLKZIdg4mPfIR7c17XBuxtH0FdMULZp/KMcsupL1VIoNRvd1oLdhDrj1KGI3Q+GtPN1nmJaKG6v20GgBuP3JhF2Suc5xyIKMbavgXJMASUaKOC9vJ8GyPc2iOvnUCoH+uy5SEm88k7sdO4+rBZe3fd9Ftdr9equDMxxGZ4RSI7rbR6On9jtuaeCPW9/0RFRDsDM5HKK6aLanBy462zGUzuG7ycxxn7upqwjJ6SutZSFhoWU6gfq/USBh7j4ySaLrifN56kcsdzCE+3ksXS7jIs0NSS+hoGrusWPc5NU+OyJ5n6Uxf9f92lPoiHDVK/V7aYwjOaBWTHY3bMCrR+UR6W+fdXgZ81YsBKZ6iqbNfmpHbQXnml3L8KYVKJhTS7temYBLhVtD6y0//B5kl9epnn8JdYncmKHZI2LC/mYy5UI8w/fJFWC3Dl5Pm7vpaBRUje1dj1mZraPjBermOQZTZqIVMW2xjBp/BMQBP4Ld0Ngm840ARS+HD/K3uopcgMzUIPrc2VHLNrlC6tsi8nWn53KnJoveOdVQu8dmMp4btipNWVqtUrlrfBCWuZaqJjYmGyXV4eIf+ckHf+nKIqgtUBIx+USnCBOZVisyeyEvbDiEE703VWKmornl4YkZd/NUui0UA8fnofszORBc2XvFwFp3b99wf2LZWD0s/Hcq0iQ4m7oH/GGybxNXhCX6osequ4FRptCTWJPJyaqcPuoc6bKmKMTR0epGwz+qR9kj4aiHZqMtjy4hgcywPOtzAIQkGuNc3JlXJwY520j1Uf5Ur/AP1ontmjyviQY9/iDvW/HeicsRwAGZWX5olmT2TOm8M9RS6MeJlA5lY0IMRmh3xMmaPvieW32K/BjPxg3eKr9seeBtzKfnsOck4Ki99+nFDuMegFwt0f8Dw4YVXsOegDVVzRs2bCLP4V8qFKqosLnz98W0zxmkAIvXyr0KYJqxbaLcE8D8KpY39ULEZmm1TmjM9f8TpAjQ4mv6ojwzbbvywHZzNRLrht3eM+vxDakq1GeWIaWqykYiUwIgd7RYAykukzETAZ7mov5/eBZ8rvBmh5DdN1P5Zy3SMOBIhziWez7rgOIBGh+V+ZvdleDwytwn3O1Z6NQ1uT/w1UuqbjwHoFMxadSIqTgk24YSNTG2lfW5ibj6KQgggO84EddwEFy36OSjgliCRjejT/6D/MkkXimXBdPR40Jv4XUMY/hKyjPrM/DACnl6rPe4tgBz+hD56yKA9vTtmdigdipiIIkSE7hhaaTOimIzHe3NbytavDDeUA+p3HpPkwUo1XB2LG5BJoM7F1SFduq4VVQ2DuGAJtF8295/oGLYZlLdBjVMYRMNae/cCFrxUNJm0j3v2mWxxj8L2F5SdkPEr5jgesDQaaDO0mO27PVj+mv/D6qSS6+wE6yR4QEr2M7qGHmDCjq8xYsjubRdcFGyFy/4c3Pe+FcUZQpXxvA88yoM1ypyMlKNW98KPtFl/vDo6JHLTnj9BIW74EY2guAIxIClVLyLY5GjWHY7SM0lAKR+aegflzVCrlcGHGCkzM50Rj6FcfZVsHl1QIGFpiMlG3qOgdhMFNJYXC/Wo5PpzNWdd/Jgarz74oZuL8cwCStSJnoqWMhr73/17zn+mvj22nYXLxVRE5WMO7wm7KFnKdevk+ky9eMZwtGcQkZw7vy5JUAu4SOLLy5sNPMFwUxBoBjzBsTCXRsz5hbWDAq2nusrgwlrcjHZxRvkE4aN736SFUvKkBUizJmkf7oP2ejrgEMo/Llmnm4dzswB7gkoXOAOIjWDPh46xq64CJRCMSn96PHbQ/vlz8M/tS9lq/9BMWGA0VXNUU1ocLnGpCz/45IZkU0kNp4dz1Z5VPO8dCvqpA4BrrS62vkdD1peqL+HJoHF/h3hkJHkg/xMgNlB9G907niudKlr8SFcNsbpagObpH+Zlv2jqq7NW2CPkAtn9hKBPjYKfKlYNB0+GItp6wOIRW2d6zgwtkspHtCsMn/AiYcGRQfJc2WfNYGr+zJ9LXucmdiG6iYcVONhK2MSkHd08r2U4EiaY0nPJBKBqNFB4tb5kkBVBTU6L6YiII2VJ+oRz/7NJKuAArBYLuB6XmJ+0QzOMtq/f7gqmq+2+pYUOKgbg68Acjz7u0D/sGpUk2fKm7zDfXYUcMI2meMXuwq6yjlGEx56cCZ6+snmLsJ7hMMdQ17BBKKl0S/gumVfge6HJln96Ocwz59yVjuKwXBxABsBUv3fzJ+3yvbPyXg/Q1ZA45WInerz5FRSYqiy8Bsog8WeJ/r/xiDq0nDIy/Pz2yPDUMW6GoE64xc6wBxk0197Imljnl1jefA0ss8rJiy+RFSv0mTha+rg5SFLM+8YSqV431Vl4jOGIc9vo8FYQVdC0VHp7aHp4UeL6j34Stm+jFBHzP7IQdPAZjCnvOdiFeczZBR6t07V3I8OmMLoTybz0897UBilep2AneTS2e+d1PeL5t4RDNHFpvpHRSQCKMn/ce3wOPgktJhny9Vqt9UJjbVfIX8Uq4RI8nbQULQFKSFmHTbMuzeGXbJ69Ce7RF94L4KVndR/1pcNz7X/VbYaNCJij0oQVlqQolHWKzW32nW1EPHWNpGS2yHiC2Kf/go5HsvkVNABQDdY1On7lMuKBMREfz/4B6T1YhK7+Ktw/T/1hN2OVkP6i4e8VDCDrLotjkCAtHM4bcj/E+SfiaX6hYN9A9armDw3CXaY4NRU/6fPPIh4Er0AiMlTWc3PnH5kyRVAsYukOC4CfiPDOTgkW+qxsCEzBe44xlEcmdjOl6B7e1FhSO5xqP4QxFPyfltu2ROVLY6OuDOEPmdiJzGkE1PR3Zf+ZvAC6TSqAddgDGiBxDCafRb61x6MCY/SKSC2BvXxK3aLlSL6U/0nlMhkMrY2V3Ea90oiTtJwFGlYYOvD8KJsrkIxj8UDqkYnxn0ktC+xPBOO09rdeU2Cwb2+4Tls0MisUSf73YrHOeMLKZMD+YLs0SxRXjQG4Y0XrTZrMwX8sI58LHlIsxWZjxpf4itCEvctYv5QkfndTGKt+2r/ulLs2qfYqg7Vos0NqPrTkBEYqcyta7l7vdWepPcnXxl+pqRDPuH32AL6ecPuyj8Ug1XvcxuI8mP6Ad9MixjPyiWr3BT8cG/gyqxVmlL+r1EeX+7ky0dYIrfjc+r0QkTHKGCQVqm9M5hQ6QmG9VW4pQrHo+PLxjWwmz82Bti4UYMEpgRLchFEoMXfkBGZs4JlNUP68d3QGyjAsN6QUIvdvNR4+UEizeC0Y4V2K/gGSw5cLCESfjy/VvjrJ3RM6w+WRtUQa9xdgxCjBgFNw1WwtPTwrSnH3Up9+Ndms7l+g7RRJTi3xJJHWLR3w+xfqBUzO9TNYo6J+nX1Zy1wkDuPTuqv11O6gPAs07wwX1J61rsOSdN4QTOv8GZVMUrABWtd/Vlky02e3sZ6vLmDNv7qoxyJMc+Uk12r6l1UAyEJbO+IlCBhTCFrXmA4x5dMcYkVkp/VDN6+/yabifgBKEPXBW8s2dvZlDgCxvwDHh/eX8/mOsZbh0j2NVOjYjY0kZmXHLVbn1Ko2ljiaoVn+mmiBWXqh/CDyZjkfh+ZZNus2bsyCDWDB4YeuYgHsFhOt5u16npPK1QPCUf2PrIb/vghQ6FEFhLqLf4gJ0L2FGG0WiKp12aUjSLrzAzipW35K1LbNhPRX/ofaB8h7zbXjrd5rtdhNjHNdcGcExAIsLFLJSgPPJolOz1Q2n1Ktn/wpcg+dyo4cW/9LIazmaKiQRCh0rda9+3hAZFRMC+o6AtEaptc/1HGVwUWH8X7V5e9NEnfHPknI0zYV495EcBwGZTIPbSo/nPP8hbZje98cCjzDm7OJzckjDx0tDZBZz6DQCFcRPTbT2NG0Yp9/uWHge6hLOW1+X4gvtvt5ZNUgSvOGpKD7noQu9hibwNaifO1UaK8uLkEwopZjlUQFnR/nIYSZEZ57aWfE1JOmp9fNhYRqGpAdeIpgW1MgME93OEUhj3A1u+XKGFkercvfT5qYngIEJrOLrZ0PqifJPxEZmQUZuTbKnGL3GJQhUmviBLdZOcV1CPnYxPO++JL2bHGucc/28vNzWFIANimSMDy7mBZSW3cc2tVY074/4af1WXerSMRaEKLTDznZ+WOwnTXM1Nv2RaOP9fX5dn9VoVNkQ5n+LiOlA07QzAzRuHau/tHJK1gdhJDF/JguRMJ8fVrKYQ2lHlRzvaUj0Fy+x+ZkH7Hr7tWKuK6iHyNGI8a4h94Oh7v730uXsXnh+8BW7/0LdK0FgJ2PQXTaOhuDfnEEC33PGwg6Vac6qe9Fd0nw2WQfApsRQ3XWBkIFoXC53Lo0fO/3wAG2en4honbHN7hmbPGKMQei+ST3GAwkj/4P3gf18HtLY9jB7szxC2eY+JnImO1iJaVWUPJ3UIN2S8a13RI76imttD8k8tEl88a0VApjKafwwoLX4YFAAcznEeMdLAju7QVWOpk36lyJjihTrk3LYgqeDQmV4P8OJAWYy8dxyADFBZ5djdDB93CGweP1W+/sYNjOiDDDcrN1GPOPLmZ5jCMEPlV/VUDieZ8kk/WkYYbr5SZmcpSUiS3FKz4NlAEO9wpmjRzUK0eFG351bVH8Tz3/KmlNco6CMAv0PmO0YcKeT1Hd+NE9GNgMtdM6MuHjqFyy46zbhVPgDHIBrOKbA8O7w/KMfdESjUFTEiMpXAkt/J8UMIM4rmKVNmn5/GabFtxeUlwy8BY9fs5CtZzCWrdFaWQgmhAXKRuDugW7euMVMmNw+lf69wp21eIRY2UMcG8yK98kfXDsHvEycpNUnHR9r2sKHVz89MyhONzfhRA30DNZzkbRJ5jjFKw90TqSKOhF1OueWE/y28B+9vNJaetTqJW+I9PEY2V29K5a9napiVFXfAL8PWzpYgfE7EizzH8+qXX9YDT5o/3PnGQG3sSmNhOzXPPasHdbsOuBxioZrsByKquA6GOuTUve7uH4oRmoqyf7HhjX8WcfHcpAIpKg+Lc7EI6qVklAF+cfeFvEQeqV/XRRuQ782leUTzYgKvk9f5NPwlSydfW0PezOAusjylub8GH6hAHA3FKmgb9UlxDcb5syq6UYjdvay7pCSWUQ+lgGl32yONq4/Dzz+PnInXokWjpclBa7lDS6czqFHl5wUMAet4AAemFKleElam0tzrpkQRizvNcrJWLZaBw1vRee+QXwB7brtN6pw+qFWRI4lNb7Gq+6FquVKwfH41ReQ3mLQba32ysH6xMweci4XTYKpjc7GjbLBfzgnLcPlVepVmXd70GixkjJdHzhX6uAy+S1lr4pZsPWkCkfO64QSgABrHhM+LKNOMshsmW8E0FLzH/wcO7Lx0s8o3e2QWPYQqtS1w7KQ5I9X7I5b8yXPwOCvZ1+AivVMUPt5E16baSJnG/tXxjNd8ygNd5hOX+y0ndtdZcNEu3Ua53M6SFHywsfrlLuNLqikT14DpXoE9tniy5A7DnFVSl9+2m0ppaAXDHBlY51qAcSPJma1JITUjzh67Le+ZGdVkH9zLw1wt3y4L9HEO4YkdeMF5FFMB6v+Zsa+95D1mnGqSZn0FLNiInxwNFbpNods/Z+klfwM3CTCvr6niQN3FOJMqiOl+CE3iqV4QQP8CHHSoV6EYVB6Rc7Opn/dSChlZbIXiRAn76VQ5KiP0zUSe5GO9Sl4Lx0HXzWV7DiGVEjFaid5pJwJmI0bMv2NepgSPGrad+fvjFYs0UUB1MLyyGwmlFqcc/b4vz0jUqQExBLR2Fmtpqd+urswlsFwfU2qbN8hei06P4J/y/2DJC5gF0gz65qvoIEftGdlcLbd/tO2QiE5/puGFYqr0Qv7rvjifltdU/CR2ZepyHey4YkR8yQcMierc/Yt8v9HtQgzsUOU5FEuDaBGTECo4XV61DsP3zVFHJYgVoOGwX/nNZ7G4wrAP6rUsOWQjuqKQFOKkQkJa5X8esiIAJcunuoSeurVfsH0EKUvixZHktaHR+DLVlqoAEmQYJhdvK50B7zamUx+vu638tXxqFV/m64QgiriR7GGbUbYc7KTaspcQzYeRjapT6vNvmS6lfJxnXlsgGAy8QwCITqwQZXrcoVxmO38T0pT3jTIHF0m3JvCbhFs5juicwo1zepjX48aAKOF/RF/jkhDInQqJhiZpWGuU0CXY5B/8MCFFqTEAdUyn3RnyFf7eGVfVYgXvGIfIDMaXktMeOCLLf6D2Mun6mpE80gsPNM7ueFRfbmtoUbRSo6/h5XonVqiNYGthhfF0TmGyB9ua9cvCYK7Mc50+foTVMbdTpFbVIPlEk7KaCscixzlkZotIIgE02SxkDuYsdGoJvp3FGw4kGofZ/jH/eKaNZchOM/LfmnZmrKX5VjoUn2IsNs1BGGPP6qAp4sSpJ3Zd3/q6a0Fe1jVl0xedq7KizIwgB4R326kldfRYB0t0Ywd2CLQHbeYmFLZeVZaaz9cFYZW3yPeAp60ctb4zLTXkEILDTTWkxg0a8uUMh9dJdBMCGxoUOUXmrfKRVr2Hd12vU7bM7YSLoeglLYtWz89/yIkCoK1sUPfqotya5CpS/tztDBLUyBqIH3RtyTIaW1CgMLFJiYpYsyDvbABSoDucqdkIAYhn7usKJi9h87bwognEprFaECqN0OlY1fczA7FCcKGQZTpIkdTme5cIBHPbLUVBbnOIlW7DAAwEzU/AN58NwHbKP2c1MjiRi1aPTrUoyoI1v7RVm7FtTUevDNz6YTDtAbVbRyZNllcU/3oWkMNRayjHAo3JZepxxOSqvYmUIFEDsnnI2P68WpWOg5NeOFlsrYVtIxNzQSrWEDxCJ0dNPEf+Mh4XHA8rTRa/VqjtyKrWHXSmGh0TLZVbO5Bdta2Sa+VWQcoZdKSjDUhr+06/YV7yEx3M3gQxkCCkd5FmfjhylYrHTtrbb9xs4p5JRqbFeCLDwvD6IhLwTFbNfc/rS6kBSlJuQfEyesNGjDfZnkvI7Lz3y2xOrDL9JxVUcD+9V5dS9hQKkiwQwmJiwpg4w47R4GxwR6tfha+tUESZIisLhURguLrcVeA23bqtSSLM4UeOakO4fqhifr7w2t8Vd6LrVQjuaczWPFXJWUSMxMLx4ysfy+IsmY5xN4AFrqX2sp8vH1FsEV2W6uEnlAXksSrgh7TqPLe/4brJ7UaBEeDGBY0eyfT7bgSkV168ay9eqoiiCIA+VvPG6NQ7lo4Sy0J7edKB4AZHFYnJT7gaIY6WfUOIXlEmTms2qv4P7G/5vecys4zqJugw87pMpRu3nJpdr1I/IVwzYjOLgpUjmq3UPf3KNMqxZ5r97PZqGJK3MjiWrU8dQFGLMdLO6u/3QKOTGeGF8F5cjzbS4c5iDH7+o78mb4X84kt3yx47eHWoIjoIBqseZdD8kCjX1DOeJobL8l2sJEPwGMDH7Z3POfpo+7klJoyoUUQhmDQq6zxfTRMY+emXz0/HOykexyQDB3VHCOmFhKUG1r8JGgRemn20GsWb7kpFmG+rNCMy3GgMWQXwe0JpzkIB1LBScuWZu0GBzRj42PPJo2273eBRTAIcql8RoEnBOSQsBaJv0Zc1ptU++g2YGF+GJaV4xA8Ga3z6YaF8G1HuWh+MGsa85SgBhEYJJHP9WSPWfArWTobbct/OxEYep+8VMSHYc8z5G+fuzKKzlx5HXFb2RWLsd8BHZ8dsPmckWScCrLbxeVd+FiTCPdiumEZVWpekP71bJFqwvQmuYXS+w4EHJZ+gIzpaODWXFk5pkgybBqF3Rl0LpyYih9ku8JmxvH6z5Pv0ldPIyYnzCEV1p9X8Iv3KIBI0x9kpq7GUAfV7ihv5uVObStoW0uTeyfrDhSk7biKebKsohBr7aBp1bytZvIJ7oC/Klm2Fn+CXh/BDtFDYfXdp7cTKBHZGsMWIgH3lRb93VsDVTXpp2yPLt0iRBsRoo/Ttm99+zSOA2ZcVS2nAvmmlnx/cCBeP5GS7ZHV37eFEsP3juXGVnB0sdnDgH+6d8uxXImK7mSNX4xx44CyApXnD+2npnlT0Rw5umRsPCIg5pqdaojOhrChgdAGBr/UnGH5tGQo6KK/R7G7rMzaUbhpTWMbEyLSU3Co0583hCrEBX3coP7JK7DMrTLN9kL1euMKyVRO4QqBGDqCu3WhCTxgr3IlwrjWkm62hHpp+YVR6gWDSbdSBobN2S1NoAODZf395bpepNh2BRq9XKLLihCbu4eoEGsDC85ZdcDvHmumGokI1tlqcRV4HMGRukISbhXcfzB2KzFrBrvTtCBEuEbd3+8Gk5P00s3QSvMJQRuBpcKu/Xbb6gy7EFeJi0hYlZgMYoV2zkiJgo22HfsgULwqlIcsXP9dQrnumFEKNWhTRZt1ZiqIsukNVNd9LpM+L/evTbZLSABorBQPV7/f8vWIWV05u0nggmej6c58qVyeJjJIr3QMPOv1gcyV4IT0IVQH6BlLikXgnN2QgjFb7ntU2Bgg4zDmtcbBoP8ToeUz+O4Pl60h4ZUlkbDC0g041eQzQtJxNt9vdW4HbVU3EBfn5jMnq8mQw2+mpw3kDXrT7el6ic5dmuRNj1kjLU+P4vMyFRmisCv048dgeakqQ2C/fyOAuFNUPfAuCgxtmy8g8CG3XRPtX9bUbcgBdL3eYokpTOIeUiT8S58Iq9mJFNp3acL4pvmDV6uhwrPDjmoco+WGtRvQHYmFAg08pwcZmfw7tkgAYBYNw1G4eJ/tb3rXfWwMeDsSFZ0j56C+U5LkcISdpHNvGkE+WZQmjU97Qe4sHxE5EBXHuIu7vNZyi7hRiH/gyDmODU38LcpUXG3oLGD7x7gETjFWJI94Z5cxBqdhZKavKQrj+HMFJg4DU3vv0kuoqn/cGEinldA2KrLtK1bQJKHh/t8vqDRfc+ANhn89fEO6AiyAYGFcNMlgMetWbQfpgtNBl1JYq3fmBJNjJ8LEwhhJ8BYYFH/YmdziIBFQwqoVl6QQqT4q2F4/PC27LBRBxVsyHSHKjPQ0hDlg8MdVZmkMXuJGp9l14q8YODl33F7+el892WF7fO+kTnOI3RV586hXhrNq/tYzwH/dJQpJlL2iPErzDJUh5SeInljAkWHvH7+TMSGQwb3K+67HQ7SrgOe3vXzjvAZ0Mok5NijwmcNrgRDeWu6IwPVT9ePZ8mJFWsKZIrdHGf98S63zZimH2pbi/1BYzc1JsLpu2zp+OS65+Y9nwYPinYl/iV037/Y6HQxImW9xxZ69WwvsTAO81ZQ+PXDlcR/5MYFbFxEce/MuCCaLDK+8u8TflEcBakQ2GiBbfW337eQcdIJbuAHXgta4Bp7h/aEDx74Wobu6rJ1MzgNmNK6Jn7wRDXJN65TgZyklef6gHYS3K9okXuLNESq3bTjGhly1wk2gd/Mj7TL2l7M9NW3aZ2okrvRODEGuKWIOWnVYCPHvyONCtgZ794P9X5vzfeWum7l4onAnSifUm703KjPUZy7nNKuAeNbMRac2Pk+nG/HuZn6qfTJ3Wf1KBlCGe6+a7heF/wHDvmos/n/zZQ3TAJlMzniZyhPfPg7WSWrxBJ+Drp2yiKuZc4JigoUxn0Da3B67UoEoy2k3ROskDZ9cWlxJidAarj0gQNvcIPobzjneKBUJqszcNMKOGFB3VewC6Veh+UUx6buVJ355z3GaXPd4+tNOHGShsTSUVi6ohgig2fgleiyetgk78QoO7T0A9Tmfl5pqTOqqwwK+R6JNcvfRWawlZkgRg8BNcliipgyxHgCYFajnWIleMzKLtMchssfv6BU7DbJg5cMOPPT5ADz3vgqNDWqLpzNPPk6gJr3TR0G6Tm5gPnGDHLqnmf1lbt9WcVYV/Jq3aB6ji9h0hF9eusb6jKWJ5vUB/tSp6+g40WP7MeRTPaXtlfHlNA5Rwss64DbJqBxJbRrjpfSAchOElg7igxyNXcyWj6RHBV+e96yWs3xGZPnfbu+0g37GjE7SefxhqIlqj0VRLzlpoqDEGnHc3vODw1rx30QN665cPG8WblbMR30lKDRnDe2Ju6705g3zKJ4AwmMJtmwDmBuOPkdmSWJNt/lG8omiw+5bqJYIe9JMW9eL0mZ88Hn7igdYYrsKBcRLIXYIsHZzNshzMbzJ9mIH+ddZfYMv0FtjLhYN+Mgy1xw7aycqTS0GBSCLG4tZ+2hZzgR+tylxjglV67eqZzvOVPQSlc3Z5622QeFC2EJ6xeyZWRHvbHRR/+mcVKPQEB3qHqbQwKjr6LwJpuOUpAnZUm24jGS7IWSEtD6FfJZ5sYAj8C9Sg3MGTlmx8jw2kPS/+PQvUdnfFxPUWL/x8cuKrBhltS4ftJXmnvFvumymxQjZmksJup2GsMFzxPqOvChR+JjvkURaJW+OQzp+Jg68ecxREzRjguQpvJkvywaxUQ1xT4ez6zi13opmRCWEAhdwIjXdbwnqaePCxFW7NtDA2u6nG+4wCmkdqaEdiZnQ7bHCMujsuAl5jGIpVP2O93jdxfq+sf0XwPp2i9I3Qqcaucodp4guIgxuvdqWDy7Knrc1rgRIwVaqJvm0mgPlJSGu40I916HTRzkFfI/iMBZMfDBmVsL7JnRdkfnyL9eqhYrc0fn8dmsFz4jk5iPluGIwIhNlER+sgATzlRp6EbJvES647TLb7SNHXg4P0a5FBl7zDBqMM9dySKbTKWM27B0aNRFEYcUR/2LR5DEUjGvVyNrKkJDrYgsT32jmuWNTEArcEji5fiBxOcBYHtieVrL19wqmdA6C0Bql/WstTicU6gAv9Q8QtVEK2ddVHNjXxS+ypg3uI329jlYYL9hs9d0GCxJxsRyDHye3SbPeknCWzFlW9rOKL2WBRhHMwp2Agbi5etLhYBktZDpwxKkC4dSBTMxrDE2S5JQ1ZQCTMbpOtrkhl7tESFEzoEG6WG1AjftG4Ie4rqbggNY/yBu7V4+CtzLE/Szsc91jlpLqtBr72NSE51M6DTivdCNoTG5rNUr+hVDQgQKO0Pxg3N/33PlpxQCr6UaO4A4qcIcHNrV9Oef/FbzQOWCa+shyXwvj9wuwJ7DE81emqJKOosed82j3IiSTTN/zOfR32DjgZO/GEGzG5CzJNT6tYI/lzTREhtZWC8LhTv+36ONk18sdaBPxtc7j/6xA2K+gPXk0/n2N809OPhpJYlE3eiRULRHHQvrCKBIaOcU+TMcbCrezIY0uJhgqrIxabxKjm34u2rNAJjJCYHboHfV5hfXamRAiAg3I6NdgdVY7ZE3oQ/KPBsYykHHCzmFF/JppSyZFCyuYWXcDlkufHY3JZf00Ae3oOPkibjq0YfMjCy703EEMfPuOiY+f+ESCj8INoNefSyXrCYkqsvf/ADxH2u/85ShmMZEnf+823IeXgyAi/Sv9b+kEPLiyqxbACE01I09ji1AEwOQpU3mnvedJ1b64ZMGHPQ/YyWF8CpwWuK/VpVULSV/uGIZOuSpYCWq2wXbr1pGYC9iZIV2bNQxUli1cCBphAn6LAgYP+yrsjBF4m7OD4/9ruKHMjJZ7lGIgnc3tgZbRXKBqTalCdTXy7PkDwbPOTWkDXrFnzoebuFQsgceake5xltSlU3r/+531b+vAzodnPmwwJh+eEOkGbwq0IveMPqmvaRLc0yy7GowzXKxMXwq+tPFJj1rvndSf/xTylfDPNkKsVoEsNKJKUVcUdBcaNNjJ84/zdgGDssbzafvZsZ932IIvow8RC/Z2qQlM5nNu5N3kNY2CbDIHllZV44O1PUzTzTXLm0ya+0Unl3/4jgxFM3LCWGQHn8PsHY97BVtlpDp8dedNls9kyz4ZUKAJBFyZOFNRxU0sEstqBQ9s721c1dm3Sxq0DrNiLprI0L2PFyOcaOAHVq9SyyUtMZe25sHc2J9O4YLfsQ9P/NdSwBlno5OzWrJVmww0Q7AUL/tYYrN5eYnjwxmrd4eEV5xIprI6+5KSYAh+cZODRBfsQte78wFobUKORNcIECs3PfgnZGTHj1DHAnkLDCMnL0EJJ6jnBpWyV+6sc1jf+uYlYFZOK9UQQoNsbSR3uhrNqERUDnkHdbgHv8Lyl38CUSr2At+HXrKgTVvtZ69Ihubdh17nA9ktppwDlt+eP13nUj9eSeJ0y54YSha/Tk4XNhi/Ig4FWL+8cvB/5HXvkHth1aYyUOTOsBkzNmiQFLKvH5le4GUlRrwxXK6HZtX1rcPKA5Vt689hFUi9p0h5Ls/704PZYjCqfqE2zOS3O+4WvnKptBOvDQJ+J3oFNEsHld9rPDEbrq32JpS5QbdVjnEAG8OxOrwbu4yxqE6dSMPz/PXcQa1eTNvSZFSVYAJUD4x84GfFdkQyr3t/6TLjX87W/U7pffmzOoU/mgIDhpoMuMELVVoYNTylk9XwvlFQsl6zhi5vjfst1ntwnRzOn3EM53sojd7Ac/nPxbJN+FmiU1N97RojQ9+iz9O5E66kxRlaRuGl2st33H5DI4dM1YmFSgY0CeO3MP1uVPcl0uLWuPd3r603QFbQOj00CkiSwqBL+VhHy7+c3HOqIF3orXbTg/Ipa1d1UxlZTftoAaFR0sFwqnXDsbVxN/YSO+qU9H8ioi34RjhilTaHS+Pore4/bmT9Eet1riU56RI0hgslvbsCzOjKzKreKfw/BaC608M873dgZHi+IErEiTnbrmzusoEN/vsAl2cV/ZHDLpuT6XuzwpxAcw7zNAZGeqf4gcVRFTnLs6SqVLNlM77YMOWI3MBQXFVYPjov+RAywn5ZRUKj9RnTXqzgL/+bEfhdvxTNMxhZ7qso9jj+7q0CwZ8ibv8uWkAlfb4KnluAetRpi/ef0PpGlG0uFHWrEEkbz1OBPkF8Ex+xjVVRtnCcIdDF1d7cVe2cUbAmXoeuEU6SUVIy8UdwY5oehyDUqcFtJWzwWg4i680nQdXMylVkyg+9KvA+pL+B/UWWb51WmJea0gObT5h7Ultk5OpbyGoZLh4A3Bwf2BRrkoi0ZDKQCZKsg+EPeF62iPONyGbn6RCe3tnqXz2Zpx4nQ1mCEHnfmtFROCOgxnoIIl1pdag7MJxyOzctWh2bCIBmr2nP10ywdyRv74PvY/F7yGlFKbCcEwuhhwNcdS0N+f4tcmyYytdW6xomPZLGWQ0yfTxLj5Npkto8kj8l2S2ec3/HAXWWua5QcVOc1rygCmAncni/QvzCExL0wTbN5vDmhY8yZz/PkWYR94C2sK7Eqd3YncRpMc6bZ7PzcIM0HvuZKFaPZ3WoSlxJe1WP2Xhwj++087mygusOEo6MENLFIcPuUtrmpuJ7f+j534jd53tm02IvvO2POGT4g4HstGt/Q4yTPDWp6hHM2VqFhYOdf2cOqx3+Ocu/Y+wKc52pezZMx4portq6AanKmtvxpzQjajMqAu+C7xzc3FGk91Xf00l3pXU99IJX/LoIy3dpluBnmjfpvzyhj7nx0YDaj40Px1+nt4Ka/BHoT53FiPHcU7N9TgtzShqLS1ms4jVqDpp8teh1KDAZUq1sUu/HL/NqCiIqdUpS4KbY8MdZM70a1OzO877A2AAtGNyaQFc1XAC9aP9h6LHOLGwWOgI+37OfgesLkIUSipPIId8qCFYF0oxGfZDsdc9gk1/aB+QHlKVmjMQotZUt1MW6RaR417EvEslbnNslHQw/7aZApWvKplkDbs4Y8dBZBs45iDWz8hbwqVreEXRBWaZcVBaq2+09PNi6TVEYdJhvcLtpueKQ07BbozVlYA/VUTIvHwv17In7JSVgmTj9UkF0ozrKkCDV6mshnuA4vBl7hKg72895U51eCvtbRTpUChGxHfRCiJ4oZ7yRO331V3c/BYyKIv8mjLaZO5c9iIIjeDHhoSSfGCdGVH+sUOeNGJ0pHQrYcVMjXnVk6a0kA/GBv2LSmogzcnprlDGv3tKzzfT+zMDRZMgg3HEpBJ4w24rz9XK0it5dj5A1nLfLoySKMedP8dbhDiMyDo+dGb32TRMqmXY1iNr+UjgHhznCza+1crqOR9TrReuqb+jMarscDvX2AnxlwCjq/ZjU5XxFdTpq2U4FdD8yxfl5VWeZ9qFJzEKq1uHNcTJt2HNhdvXOfoxWCNc5MpPWyc1K2UPQytT42n7MgoCLwp646MZY2IPQ+NBmBo+e4kN9IcuPmFVqyyCt+ooEJCCdYb/BETugRn18L9Fq7u8LPaM9iXMCW+XrQdgzj8ihbSg8EGSGFEDP7gGe0MBm1CI5+nEEASyzv1zjYRHHZGm1jOVCJAE9L/EB3aVVjeKWBuqHooHB0WWpMN1ViU3Hp8Obklc0FboR5rV/YUfwIs89WQN/gXPofxXm4ggz+tMEWhqK55hKgNMT14nEwTpL3AJNPjpPOeRlWPPzuE7hcg3bKr19qigPy6ArRXVlNQa74G10500o6Eq0YVSyNnzlpajnEsWxslsZay69A0aIziQJ7wHzdp3xUp+svfOl/+YfY8C79VGH71J9Qb0YFq+Re2YCGV74gYfy5Isf9iCK6pNSjOIig8tG8p5Yulw82V36PGPYhAZUVLiF4MGYEPF8HXgtZ9KiwEn2P6ZiQCAgCmml6dhHOTFjVu6tZcsWMVON1QdpqIYj7cvho9pKm7mBU+oAhJJ38953OCk1q2TEfOq1QpR4PWZWmv/XrRDMI6ks1kLJhq6iIvIXb4eWYX7PbjQKz4tWqpkA84NqijZWXCDnmEK9qef38170SbaEFXdIGcRKzKDsjZhPY9wCz1mElMXAYdCcMEn5mJXsKv4eMAk/MnxnBQalJuk0WrZZNeedumUSeHQ5zhNx+CM8WmVXcV5qITKuGy0+ao7E3tRPXWzrYJnCxObVY2F6ldFLH4X8z0QdpLRxN3MfPsdXEYOluPGCLfpuY3LAuQCDolNzvj3VLeJL6pvzd1oBsaeqj7PJNj8bvvK4ne/OxTFNMFdzflAd3DAYH1RNYVZX7Rk0kVSZI0RG5/O08HDGSvA4c9Zoi3QvKVnNkU/LTZxAeXuIl0i8jGjbfSzU0VGEhnO9l6iJv3SGuEFnPhEmjVpMgBczjplQq9k8zA9E8Xuk/TY3f6LhH4cwTQMqZUhqKtTc+9uvkt/987fkAmcBBUNvkVVmTw/tvT/0X0P6x0JKPzQC7XIFbvdLgpNQskdcKCSgvqIRc1LaP9czZ/xVT8Aqhzrtz0Iaa2oTZMf82MhLkVK3wygDXxUt4X39BKiiPnVwwpPTODoYJAwQAXi+kknEs10d/W1LRH0/CxgpEX/RZZuwNTQwpj8LON5ULw3Oa6IhXNZUgChB5UP4MSSV/mUNMaTHLOSbcHiBySrh/w73ij2nFDYEUyE6aLjW3f7jbc6NuZQYfanqxwmcXrrq/ao+fCkhDHA6Biu4BqQ5OsR8gG2xLr251yqxBmBaOxApy4KsevzAPMNWmnnaEJyGS8f/+gKaTmFI5d/s3suCJoqFEDmkBiOp+xg8opa56afi8iLwfUzqHWjg/mZstfJJLvEP2QxTG5HkzaOayrgbEaJRbyAW9no63SZdRVa9OrvybQTDiATGV7oXRA12DEoCm8jND2FwMS1/Uc/xrRYo/HXxZysP9jyRR2fQmtZ2OKW+xsvU3+OXcXlQRT/tqO+rjvO9LE2/VBrE7ocSrcNGHhOOA2pVjpZy2VcVB3C1sO1Ez0fT3cAdY6Gh20jGYhZokdLz8jthFLHBuj0JEGSh1mmyv6Ltf9z5aKIoEWIhFjH+DYDYKsqJwUMHzoaSpVJfO0wjbAoVac2h37Vja1KZFMG5O7SXGbTsyKgi0j+eBQySDhhb0V6gSkgMn8BCn6VltXaYC3CAByQhI7bH3rAFn74am/VYy/YvWYgAgPbb0f7T/KCB/O3tUSyJVNr7+rSTdhUqOYL35kdcOlljhpbrWy2ecAbUkAACFMDfy2llmv3x5vJMdT8OpajKliAED6MeltkpgCd4lKyIuPLyBOMCi/aCk4hTKSwMDyqGeHIbp4MPeddKJOmsZTKh/lZQDvgcxvzxvo9nlzg5ZLluecli/z0A057N6HxM20dKvT2YzNCxLjnYECXKtb9y5pkivotLsqO3qYhZIsdnj9p5LKRE7LS3H2uGSt5E1jzcAWT/RUspj7X5gomO9C96ZTE8TjQLKgvStt0txZ3+KTcnEeGl54IK02Q3XEZuTAPtR4N7PZSphZc1QrSx2jHGq9foUI+xSYqKxgVc9m1ZXuXUv7I+eezEap9ccel62WAPFCWDkLw3X6fSs0xqkePpvi5LombJ7lAHZb0V6wdOdFAsZNSP3IvA+OlCj3VusHYI2deUtQt6DLjwXHKHDwWXWTQRUWzBFz2Q4xTKfnnCFZvh2aS7VcrTTymvyry/Q35pSdqveVu05CebXES8t6/ZLPZeBlhHwJEAHLI/TIVu/m+5nF5qnOt9Dm+7VFa9r+XoaQcduNBscQY0fKlUow1p0bPSPiHvO517+8BffTNQ0fdwyjxJWMGkX9TuJ3aHYD6ASaOA4EBZN17Fny/RcBxEd1FBoZcgJ7FJUop8XrfWrvWdlAi0KemJDSQPYMeLSXY8TKgYkpBqFITwi1RDrJ6ScINniHvMPJN2ROEDiV9Z2Dh2R49jUuBwwH0nj4NE46+IXfTAUk4pdQg2Cqqe5e+Do5MfNdC4LW+aXMhWmyhW/jaBMW8DvTfxlPdgiGlQaBVfVbOwhYbEjABOQQZskryzPvIHlepIOcEnlVLtPmFTm0BPD3SC404b+tauvEO3DPYpPOny+RW1Ox/1aYMC+6YJHhJgzOKCt6unsyWBHlmTh1DGFwvLxIYo0HLqBuf66d6PKEbFSEpEqzBjV+W5WL3CEBxW3JglZDy5QViA7oKcMJqPzPGz411cXOU+PPL2Q/i7xNRR4zfkO2A3acr6VpkJocx1kbMBDxakIJWoUyU+JvAwKI7sSXbyvqcDLMGB5DcE4arGhgLWmp4eee0l0IVBz5XBUO8AUMnu1vliFR/HjrknvCoyL/1onxP6VMVIUlZqDyc/dmMDEfDIEu5Ugl4ib2xdYgjuftgUQmOHO/7GMp4VPZZjNTDl5hWt1cNl8olrolvzDz6+zgxoU2Ta0P1h/VjlVw2vJqPqpDCAlKzKGF3ieCfoizxJMRD9Wtk+p/0R5XNSlmwGLWf3KqLA/pycM5I4PRT4vKX1/nwZHogxwRSGeSh2SjM1wLa/ZiC/ufjVvu5n4t+3mpA8MDgdBIsifgNcejDvCiM4KFlbscrjPnpw7lV50AdxQm952tj4wWpWpfPB9GRv1UDKV4BIRIRg8HYLiv10GZx5aAqL4tyvs4MS3kLMVdCCOMlQBGZNUSQ/21smfYHF9nD5dPLmVVpjlqhTnAF2M/OKgaYWfCiqmeIrcMowjqiqNdWEhJsU9X7sZYHcWHeVaIb81dVSSx0ijhLsn0O/IoyZmBhekcJtSBm3Amb0QNcDSCeJfitYBjgXMSqgQEzmyi5vOelK9C8+NnFFdjQs36Fguh2dOfS/0H1OXDWt0N8bkfh2oQa8TAchOv6pyFsXH4kXzCyiFh/LcqmhqyHUaLPGL90lx+Gvweq0CK6GDy30rhBa+sn58xt4nKRnQbCbC4uDLyaPnTeNYDNFtap+ZLmEyEaC1pcDGGA2YXnJt2TDhXf7j1JKFJAEy/sfWUEQvUtJkCxR3SvD9oR0hv0Jg/2NKeYWf0PCrDNjlIjpFMpb5HASHig3dP0R/a3ggsWHoK6hHmbEkcrLDuRXfng3FvF0RE3dxqDKI278Itc7dZ6cQOCZIvrnGkhGop09QidGus7bpMb8v2c0qp3CaXPCwyof2Usxzp+YRCehT4GgGn930FuEULXuc+lQkTjIaOuNVUFJ2grkIz52capWzaYinyYwz3rf1VjeUNWhoF3yum7jiGKO066pud8w95ZInYOcoXrbCIMb8XRgyvNaOSZpv4HtfmvozlaXifUTtXM1ypIYa23/bEwiDshe8Mvci8pl9ItaJpJ0gtutLR3gD7HMu6omk5rtBQnZUa8b8GQ3H/T67UIrZ2oKv9/yUZjD1P5joe+d4/oNt3qyBy1ZrpRMTc1nvbPzTxQPmPGKsYGtVuoBLLbBNytL+C26DwKACkpdpQAlpV3pFfzyxHkc4u0UYi8n1Ic0O4sRscIov6pwy+xCXaspDDubuCJ8tHJWGWmZDbj+BaTh3MPMZvla286UbrBGrubpAWC6Kw4RB6sOL1/DvQAPaWu8WQ1FQGK08oikaGEqhDUwInzyALN7wO2sNIE5Abc9bvU3Zm+1zflBnKrtdnwgI10fsv5n+SHO9em5fThgQk1y57qVRq04dDrBbZUmuwIXJ3K+qTTxMumkZkXYDNlWFmTc/mbTkumciH7nEWdXVFtplbue4FYIllkqeBCrJgGiLahI3/qe2aBjB7+nX8MT1CUP/wxm5oZ9cxddkrNJqT9fhkrL08PwAwo04cmdAdrUDhxjJt9bHGxIXqPztiJ4n+ykJHQQfV1MVQ52HSir8gH1Bz3JsLKal/u5sNknFoS8e+qaJRRw0C1ZJSFRfKenkvd3TEc3knC47+sWkYmKlC11NQaVJJKmyS1xml4X2GVlLtylkZtn+GjXDJU7fj8pk2m0UxVJDWUqs0IS7JBf8QKYS7rdUEXa7h9UgiLLJJo0wF0q7T/XHbj/U34TWLr5+qDCK0CjxyHmiQX96rOaSBaceVix98rVLNYQx3USkk2Uhf63eGYdmEWTYckVhVY2PcLxo1c5g1w4eRIlcBIBXzyROXLOfXmMraC5TQL4Uu65TFP3HTdfyDWdt66QZh2NZ9P4USHX2Cv2kSElYb928z0yn4V4QtaeVLH0dCmWELbaawW3lx4aha0TIhDGRPva7Vo3Ct82Q5C77DIFUzUYLYHYJnNPvrqXondHBbjXH0ALkV5e2jnT3/diEI0xT02GCbdYqmIUQcl4HIH7/h1nzxhl2tmfLnMPWm0ra3iME7xa8tXRMieUeGLKFO6z2CP8ZwufA6SRZqVQtD5LjpYI1CZtGNAs3O6Xx5As4I7T6vBsL8ucGyw/XaMHWgGsBZtcYQ5KIqLfKTEyc+zi7VoK0JgMgnIPQ9TIfD8AfFAeUB4YuyrWsYKjja/36OqbTEyEOB0x+Oe6DpG6L/kvP/Gdf4D2Y/pnuJZxlkzSHa90V+XAGQvcTWzm9u87EBfSfJEOPAtQK2F83b96tX56uBHNnB5yOnj61XFwrdKat+Mynl+0OAfPQ7Mte08OHdQhW6FlsbYt48aeVZXHxiZrZua91uCYLinQtLKPGIHMNdobsBA561HVp2hVOcDJy5z7EEw2UK2gK6o9VyPL96KuQwmrFqr3kkGezMpt4nfSln9hj79o+YNp+mHgTPjG0SiwOjNLoTck9zdHFP4g/UfBKFP85iXvLOBkLX0vj/qWWLreF7MR1f8k/jnfSUBfLTeyBrZ7+LO0AzUcNBJVLETTAbWgBb7sJ1kNDTsx9MbV+izQFPRYT4YRRJRL6doNUuc5jopaGIGsjgiN6Y7uE5rNwf2a8JSDxr/msZfLu/AvdILhXLulG4nERj9k4XVMLaVOxTKVOuAsIG3b+28pZC+JUreuBVe5dIrwVLu4Um2EmPkEFVohZI58kB1vzcSVLn47ZVs3rbzEh8UaQ7St6uW0EKWN12V4qfiG1KpoZ7A0FqRQWMiG1zQ74yXNS7mcPpNks7VZ6RVw7Va7VICXbluR/NoBIn+btA6iucrh3W+qzV/khIDAv4RJA5x+1coKEiG7OSreZRfcZ6/FYZHgrRXiB8aGjDcsyRuCate2esG1YEuXN9xI4Uf+OgO3oeUoDquEfoo5oa7FPWnnhRFYm9rTWvy0O7P7twKl5qd7NOQsETnQ58JNs9yTQf7nTjeTG/ZI3/Zur6XSu05QCNgM4M3GIDPsxE9CrBb+UH9mT0TwzuYGR+a11aDg0MSZP4XfH19AtFtVrcqm2WR1QGAAiIRZ6H5yHlJpSENIPmv1QUJoO11S8iEohKYL9xYVO3up/+0ibLBd1ftajgwiXV/hI1HPUAvKHR6IB72sXLnm+MKYY8c8nzj/AtafPD8tdu37ceb4eROLGYtXIyhL2yN5aZTcRCCqSYDSBTrhwhjAhyV2A2zeip/UfDS7HbGo6T4e45LVHLUeeusYoYkaz09YDKYMIU3485Ntx1OQ3Yqc+CSBsQzrxUQZOG5IlQBF6lIvSb1KpuEskkEyf60jYUj4gh4BZ0cgA7vdCqO0m3NEQJdF2HmptT3WQOrqEu2HPSGO9so0QfX7lRnAFQrF21jKOxKhskkGEJAkoXtpF1NIIxEHIrJBtFwBUWpuLfu3sgdjVUM8AKE/7ZYpWNxVnFhhJl+LQrutBpUjgD6Ev2EQZVMWcuoCmzhRAcpjmv1S6EDUeTSSEuCfwy9In0iphYvETzklAvGQo+i0NLXgV0CbI0pTG7y8EbmPxUt5crEZHgcHp9pFXBzRhaJwkMoLnDNHq0kKz+LgjpjIEYNYVYqkn5lZDfZieFcXh+YyZ2V+3j3RBzaZ/Coc384n7q+kmvRmyZRajHq+spcAUjy8vEklFa7rlE88LZ5vcl9QY7BWnD3bPOYjGMnsunlP2HfVyPPYtdecK26L3EdChBxK65n1MzqyLX07HatHKU4milQUQ4BOnREkoo+O1ixMFYW0RXP5qYPJAjhlhia5AfHPaS+wn1PNpMaNmFxUvObFo1bc24R1wOWYUE8tEvIeWS52wg6GJIcvt+IdS+tnQj2SJlN7WoMsq8kwSnSSUjsPhcEDVCCSNoRFSP15Epo9eDVlqSqZ5MTRNhMOAjT+91p2E4DIh6m3Z+2rqKojbX2auwIZi8l8ZJJxluV4c5ikutJuTtf1FBOFuDYGuL3GZSGDsfKy+69NcMSssjEBOmrMtoz1GI6ZNYHaQgvGCmzbu+pSGvSS4NoCnjEG3pYvVX5t462XIuOPzBu6cKIRWcnltSWC/3OsZgKAIvT+L6xQ67s3A/rU1L0MeTkrvY+DyXdIx8cV0a4p9rzWqkQ+G9qBufKRIqs+QjH/g+MZeMqfDvWHEGlX23LQpwc07oCjI+qCvGpmhZWerchmubhkOZZKTz+tJQYUpuPaA0tOP7Xwp+r7YWRbUi7Dzl99aaPgk7eIsoHPaVKhTYdvMHtr13yOWeeiOf0IuBYBccVeZT8cD/GObMOmsftZoJ9cURDKUVOF7txoDuvQPb0XqiiWDw96rbOoL9ToKsT1Nf70QoOadf0SJXry+F0Q1rv1KBbc8aXY89/oM5TrufF9oFLU9DjUXn9DbtkWHOwJqa9j8iMy5VRJcKvcUTkvMxitlLRKzBP69zIYVQIp25cv4WY7dQ2HND7sLDSIWVMaGcbYujKD0/YNSoPjOf++9n/lUx1/oq6TvkD4BOWYP9NwNO/Jwtaup5JF9e7JxbDeBTl2kAGeZ0tw3lgsTTKxLO/yLvS8Slv2344xKLCl4pYvry76rXJNnvhwmE9vc9/OxFU/iz6A3CWETI46DQHPkolEJ2yS8xTjFLDfHFIJrYFzBlCciupYwukYTQvgpd9T/YS1J2W+h3AmzgYCVO7gWDpO8aqPTcQLV30jVyXtpjcWORgg3g386TcAlItGzAht6Lwft8pigVkU5EcF+5tbGME29nZ1EqNT4vLdHNa2NPL049TkOFgil9kkGh4UPiSJxDeP9GRUpCRSj/lNtuqKXhsQlHUo0R/3GKTIVf8u78T+9dgJ5GiPbhGvPrs2DbGU+NaZhBoDPNXbqFxqUwTu6CAezwR8MgjaULJk4msLyFSq0gZFmrMD/0XaG603amLAse9F39mSCk3+LUxFY+xA8uRjoxlxMvgJvPaqHm22jYBNDa4+0G11ldieqx1Q9VIMRjghOp15/qE6p5uk4l9IXiTD0vSTZVt6l/BRiyEsmtSqOzkarWKQVRNu7Wk3NMZGt6tUSbtd/hdOYZMO1M/wuLp2hRaGGh+uCVHaMghsg7nypEo0yHrGE9QMRg4Rg7kS0PeCBA6QZTMKmtoxkM7lf21xYBQICKD3NRrOwvFs23g1r5bh2Zx7mfKQXfMwNKt5GtirieilTwIzr657jWAVt7LGhGV0Ynien/F0SZY46hfcu9hrkpGs1FDohZfaxrOrZkd59oP8772vm0MgAllZtL+8mHLXAkwCkYQ8Q7pfbxipe6JNXnDcRMnigmZDe1j4tTOKonhtMofCMhMSTcjMY46LVHptFZ70V5sAl3SP5T7y3qO0ihhHdqI7tJESlMWCBxIjvEsLo7wJx8U60fdg+PLIwk/qnVwwcPWefZ37lmo0VKNFuJnQSre/6b7lwLTgJp0B81ETG1jq4xVPEjhMUaMAV+ObmWD+sHpICHQxoJ7CDnS8EzaiUmLT5N2g45/5MvOvL+CXbGuDE+eAyFlVAQcGH2q2GK9CqlgCYiPp3VFA4f0ytYGchwnuwwIRtyefg2920tP0D3Mk9NU5doVtL6/xB0vPMFGYLRgLLj5VsFrjNHEcXmxRs7pMWUU+ZANXgsTApBcvJ7OOqyiswsu0YyHg4Z5eK6pbFUI/ZMUk3Z7pYCT9nhg8hW3l3SptyruCRNmM3WMl4RvTxsQbiOT7YD+UABoLRly8EDOXxBDG1c3Mj5BT+79X26R0t7tiEaXwYIMbvwW32FRH5Ha+Mu88hRdA1xSdn+G++SoWYVvrNFz7xDuPdcC3vL23kb0KvK/sW1Zo7enWpSRRqv1OL7frC6ikUkzTew4ib+20YFyIrbbh5np0Ys5WZUtqEformRE7Dv7+vYO5hjumjrp5SQYwWmV0wkxY6AUVG8/L9OA765lhcdZ5wdmy7KSYrikLND6FHJ8ud8M3OciIINU+1+y3jTWi6MlSDb2KDhPRS1Ueo/PucNEgT799gpOBbnnfyNH2Q6BDRXdV1/CcvFuS1LleigdGuX2kbwum7rX+kJoacqbO9zrdDy9WBLcFZhug/K7fsCHQy/bOqMA9NqN57rl5hXkc2EYz6qoImKDpyg0Vx+rh1OtmGq+xH/69M/+i9MD/Gd1hzjvTXktMtKHYu/SDPOg9bBWMGPWoqPXkMOgGBn+NY58k9EdW5L0awbZV3ZPqSaRxUQPQM/fKIXhubq7jHccn/k66anRMZ4fmDnMgnwluz+nMYsxCtmBb/09TTk+f5VtzzOBGJdq1XntugkEuAaL/XYmkU3EmC8uNAigqvhcP7dt04HW2ANhJk4SmDc0LIaaJMcgwknartkV7OBA/9AF122YO5rewREY6nDWa74nKDqkwu9lwSA59pOiQ/pi0FVtegXFyEe6x3s7EC0QxxoY12iQhRpzFJod/BsUQVMqnwMNvkgFFFRDAnEFj9SBu4aNmMsfh5pdpjcmBSpTncrTRoZfn11nVGRNOh7wKMPNxTsGQ31RNFWRLsPgJ0Jp0dw6JZn3iaTzwiyOIEGlUIAMwuS84dLo4N/Af6Z6zjOHr7V9kcmA2eEEd9ZaDW2pw669VhLa9ywujoPJ0nApYraQYhhxR+VohbS7kfOyJgGF4KgD5cIAY3SjBv+B28hOqPMdEfyDPykIiqxZu+EPA4sClIKxvxetBhmUQiVBupbOrRuC5xGjy42Vw0JMmJcKRc3dIeNDpY/nOLVfOYpj4/TbxBGA5nt7oHjYSvXPiw6iuFFkVZ+/3gUSMgR2znSCrAnmKsoR4Vv8YmYpsPjwApUYX6nr7SoZkIU8MiIi6gNpo7lzvQrVWZc+/MF7N/VVJiY5AVFl/ReJC0D27Zpc5N3PSc9MNg3TrNbLaGLJcMxIXSw8AEv6tezIOYtit5O38cwjXG04cSFp82nCwwmtEfMIlIYm8efVQWyr4T787+zLL8R2MrQCatI7T43rpqs0wxVwfkxovL6GvxoQ41pJ8rYbmL1e3PbEYeHUVXh2cavOeYuZTuihLQG/Dx7yFA/XeBB2HHcn+/ZDAmw9AC3aaoUKLudLwNWurmhi+xEYLlBb68samSyVSO54dayt5Nee2F/yv5lDHXRlyryUwHbqbxsx8wk//5KkNKawCwI+CXwbwsMNg99OVeMnffj1EirPtacGszTIDfbVOPdldf7t5Kcu3cRT8/DLt5ON5WI0KOIdit/AY11nnxoaywC2aJCacw+HorW7PQDnmbe2WxMeLbB2PJD4xiR8zD11JvbB6Ma06rtdLaye2/eoir8fGiJsxaYa9J+0NW+lXK5T4XINxZpNTQ4TyGlDNQqPCwy7bvcAbGiB+FfBUnG5bd8ABdwshAiHx3JWC7pG7pAsAEuM7qrCbDlUNsSQalPCBf7cvPMzFqdjo2M5R/0bJdZlm0hRgB10QOPA2tXYfbVE8mZ19kqYqtYUJI0dHfsKaXxVeckveAxROu70Hd5QO9LfOXPNwVxOxMsbhMHLBX2LMIhbqHYWw6fVNP7UFi8b57RP8Ywviljp5ZL6ajC95Xcr3ExoHUTIkTIiuGsMoaME6h8He3AAdnyQBFtX6CrbYy+isidbIbZFPA8FakroxmcqgsULejypTagMpC1thP3TKYV2lSmFR2GU05jJZ8vw7WAQ0cQhnwXX88t1geGvVvHHBI1t/oAX22m9doJUJKYmLVTFXiKy6G7vAq8H0JAHvG7kr0iIFnK55hPkGfF/Iu2NQ89pNv9ZXcSVOyNB3kS1chAm3AvkpupSTu9H1To0YOi0J7XbsY9U75xiA8G5UdSgREpIT+NfM8vpMYOtL4EKcUZ3mrbNBRq8dBouZaUtJ0fx6e+dm9ajW/eegmjY7zqcXC6c/S23pUL8Xy2Bd/0m63d48kWZdBkLc8eM+NCQijWhnKlXv8JNc+daH48DfSEwGqlveRK4qeF+1RCkFHUc638w7zw105iWbgl41AXBdcnuI4V4TuwYvgQ3BmodzKZEfSSfsoi/42FuCCMSgqWPHj4UGss5EC5ZhPWr0G0jM2dDwh+yDeZRsrOwrYVFbprhKBv9LxN4pAQjRRUkSQu3GnqY0trTleV/CT4vwPFMeIMEBTPBfT79JaluRXL0D4VGctN5djhEqzRVz/vkm+T8JDW6iYUjgEKYda2sGDcBeJXQ+BTVZzQc0ffKWnoYgdsvcvhE5sWG9L7GinJ+GJ+TKkFQMcxWOtsAxF0SK+9Jo/33Vgr/r8W+dXt2jbcfU50UCySFkvPhZ3x7i9b8YhQ2zsCfEmzDKwKZVR7oragxY3upl/poD5EyZDghHDtdSnhzg1ih8jZpK1xwtTTDzW0l4yTx2Idoy0rxIryOEOEYXrQbdY/dgCBrBW3KhUj198X+ja+gCYyZafI0UrJwCxp3A6GhTMq5NTJKVU9yzhZOXoe93Dl1SJwq9DbdCVFcCR439j1SLB56NCerF7uLyCTsWBk2kGN74Ell9PZD/sInSa3D0CHn+460+kklOINsb2mLn/jT64rLNOfxYEF4ehG5X6k0t7sIGcmo6kMWOkQ+u9DQDCS/lCczOndH2+/1BptRms4ziCEaeMGRE48sGw2HYhJpdpxgKSeAbaVBpqBJcZWM2GWMRbwMo+Q2yjktbiilVLSSEm/X8vxg7JQaCflA+YUTxwzzvXgQR7gm07HERM8Hff+f9Jcq+GXY7/dm4VQsM+P3hGHVAsxDAyTkBLnntiRXqw5u18t/KO5A+jHdETidoKe4+AvxXCSRnZjUPtK+X3PW3QqVesZYj7hfKotEPMb+Jwt/ranjLahaXryuztpuQQvxCFFBL2uSKWI9+XrGPG3Sn5QKwH324iDiYi+FiDQsCUgY5/+2I4Y3zCHhI/lM2bVJZPykNUiZFvNDJT9sV27t2NuDFOMKIgAHXz8hDo4uJCi9a4LQlv6t3SjpeJKh855S7ST27+7DjKz/hXhuIFTiKLopIfZmmvapgPvJ532fv2R0EuIIar4D13ZfN3GAymm3HXOYtpBjvNqfizjjteMSHieT4GpivQuSl7seUKLdjW2gyn64LNGdiisf1K5QBUcIpcXMB93+4XPeG86vWsX+EvnT8anx7uknoRYSWMKcJ5FOSRUlkJPqHhI+K7axlycx1C2lmuFUvNscgZRL9KUimXUiw2yXlWSb8F4Gt7tGT+gaPLZCMJRGfm69ccaJ9UA3324JW/HyaqPQ5G+03HHGrRVzXE0ciZj2YyisX2nxt4O4M8TrsvV6taCJG7mvBAUkgrlEF7pDKhy2aSl/ZTE+SWjx4xVBqmB73G+VLCCka2yqNbfQIxFTEfi6wlwZ+962srq5XCrnSldObdtl4FgoEs/IzlDjWCA6oUZPmf42H9SR8XAefPIlVbia+7myw/c60CGZWaxKU8XeQoCuWrMOQ249FwNbGc8/jZj6KtWeQt8A5Tdc+o+hRgFsAJE4uYvhm7TQMQkSeW2A2c/K6TIgVg+oHnZWk0Jm/RQH6Z8PlGGmqTZ5argzgSziXEGcC1r/VBFVnTrG2GaSHgDWN0EytPwMIlhoyB57yHugPWDQHAE57qMMDpUcd7Dilw5kNIuaXo1iTfD3OZZPMknA6u6eN+FbPJeU2zwZbbqAys7n+9XA0FLh9dcXpCawxBxHXhRwZjkLYre3jE74VSFROGFjYlYH8z5d6tmYvYUKqHPovYUkh+Hxe8l8jgvSS9l+OrxgywEyyDnirkDumU+Zi62lqJ5yGUXU9za9c16eVDGu/TYoSiRs92O1wG7ufyIsg6gBwuzk2I4SHg5UyuIkxPUIMr7kKA/RJKoEOx+eiHYkJuu7DWMPB8q6THkFEo05CIIaMj/J7dSsIqd5utKqteQ+4bmB4cy1WWmERsrRjyrkUAfwW+I+Hvsfu64NSHCFNWv+rRPQ2R3byPFWCQ9fFMqgAs2Bbh+JhbxWweUVhqKWrEpKPVMHTOO/LBl1xeJwnQhCtK1gxW/c+QZBBTcBnNOQtI5Xa0KHigyEgOv/8EhBuFt7M24CfbUyIfh4f/LG7uSKCGiouMV3gYqTRzWNbo94bnOPiZInH4kgxtTtw047BpozEVBckZwNSClvxC4IObo0BB1shaCKzeM8VYrbJyBvtCj5CvNno2hj2ic2zrPGmrbFSSevxqqL8KR42wDe1b1TampiWwpRiUDBbn53SqasNPPoDFRF846vWxL0z1bT7KyPZYFyO74f850qVMOjn01SKgM8qVIfnNHOzd40zXkGR6wEJX3n3maC50sW92QbNqPu3TApc8ytV4vkkyQz2atbOe0TWX89bxoOdJQ8lEIZicSoy4pnHOdyKhFBqAnHUj/H63bH0g7MRcqr3zq/2lMm4+dig1jW9Ll5bYyv3RBP7vo3pyzMfg2RFgWybjERisCzFoHxtD8xJBjAHPTpQCSPkr+lyX7+b1QJaqGE7H0H4blUiZIBSf4klWeV+b9GYsTtys3IKMZKz1u8XpsSI035WnrwtNecOgUkIzwluGE5B6XKDsimQ5LesfI2H+WsvMmlGmIa36YxyIy/1m63ZXD60M4ozBVjvLH3MliCtNdT9qXzr308rI79yBb2rICxmiMXWSZuc80VyFwvFjYWqCs09JG+dH9f06hfJz3KBbFH33IpvlYLgY+T0Vp0alSt/HUOV82F+2inld0Dng7Dc+pk+301yBguXbTkP7wFB0kqa1kOyTiUCUPBUrPz8o6clla6M7fCa6CRk7WpXFfLl66/A7zdpcCR+egN3RX6sTVoyDb/+4lrL0IoJKcZI30vwZtMBd1l+taFvguWjIQj7bmJ9GXIc2bz6J6vtwh2fc21sFASH3LbYRYTCqLrR49hJGujzrfq3kQ305Xtlu/+UcNlo1Y71KEUeD7MEnbjXSptdvVc30+mZriZB5lwWH9RiPy0hfBwAcqOhC7+DzYmidH/XZTt8Ko4AnhUmsDkOuZUjadFvBsVMeAF7J6z245I4a6m7R/f8xTOnJJeproHQjLlGpxrA/83o9dNlL9Z8rG6M/RK6g3qRrnDph93TEbg6+7+cTPwmrGE3TwN2haSiPMO6zaA9yE71ffnnqMMSwtD7YpZZFbZBV4QzCrely6FH5FSwhM2BM91XuisBXzAV3ZzFkIwz58nbP6STkA2J8ZRvIsUPV5BgdO+mnxe5ntuxEhwCncXupIxMdRr9CrleSi9+flBAQ8fjpoL/f59E4Fgd0LVDaBVd36tSktiVksLvXTSoI4rMnR5O7w8zyAojxF1femetTCbLO6/shdvpSn5Kn2+/Tf7x4bz4CGRr/e2x+dXMVURxRGg5/ruXIZVLGb0MqWdKuQ1nRVJFbRKljuHrRoYMIxDS8IqeUuzeaace/nGEOretpnbEPxtDFsgkHRVWbLxXF9EkNEcPKLLt6Py5/5M9CzDPsy9t5CwtkF+/UUvFdiI2fdaR+KBCcfdk9ckBk3vTojuSYSxlln5GZjP6ZgM3nRQEf43Mqf+J6LZ2hCUV9Z9e1Ytr/tlYpKkQTumR4HlSQggVPZMvSIZ3+MLKDKi66DcgUOUOJ1k0H5fBXpzpEjKpISghgAWduPRymtLBahUYZst9cPHSQ6WS8WgEn0/wXoPxM5wfxtoxaGZTQccQSEpvWh+7fCgBvDy599SkPVyObxHa8PwJaIIVRFa6PwZHaotbmosF46OEkbFjf6YDbVELnpcElZeqPm3fZadJ4ukgga5Hcr9GyAy05UAPO2j7bVB2zYANf71IH+nTP3G1wuG66mLulmCgd6GMiRRG9H/HLIaQM5GF6LiwxirXZIZKIg7eGbEu3x0lgDCQpkW21AvSVE8qpUrGcAIufvJ2WciD/e8ir1GFmxRhg/QUlrOC5SICEJoK395a/ubyPmcMAyPEWMGugfOQencOOhTDgoojH88KUrGlfhJdkgD5CxEBCZF4BguGH4YHuWLR9M+2ITNmQGEWATApijG4dT9wU+Z6PGwvM/GtuRk78h50vHwYYqze7AHBvVduywt5shrRGa8Cosn9ftteRDgRe66gkyjBLU7yyw8BiNA8M43IZ3EHo4sY85MCpz6WZJYKscJk4LphLayutmBGIW6Yq5JFn8wi2y1vytdv4VPFhbq740eBzR7dCMzF1dq8Mrgwoq4yVG/cNjhoP71zSn9Z4KU2f/hhxAQ4KcTYt8AvYgcs8UMO8CMGYJ2LYM5Cra633p6ZWrtCpY8Z+wJr0Dst6ptKnWsB3B8/D9lDmlByJXCMjG+ER8sGK7bCH4xmhhh++BqRMtRKhPlMqRTVEkJpf8r65cBUn2HgcDWiVjj1JSzzHDkWEgL8ZhlCiiskUj0ldoFIrktZaTnV7pNiiX+IRil3/XjGVuK/+KsUhbi7/MsUiby2Xyqm2KTL3J/xwB6QSnO2eFteoAokLf0Y2A+MXCJQIn6mARgYeZwqVTwb7Qut/VoMaN6bYjfwXB7txt/xbjzPZAWjlnKSzeRhflhAlvE4JRvFHUeROWRL2DArhVUq7V7Lu9HrnZyFn4xSsHqNkf4G19d/xLqeRnOdKsLLV3ZnX0lpz4cO73TOf7odPY05jvGgqORWuUzK6swhXfJV9NK5OTOHpwyE+UuL82EEWq+NvW9R2NgNSAUdJEPcbsUKVNHEAhpcvHuWSuykq9DEr43TgYj95lCrNLUTCocGZPaQOnbwbYIZ2VDJ+ovAsnlnnsJtl134zqawnAkxUjxCh6zx2nt+j7n7yXQ39D6/D2QEMTf95Ilkl2ahEGUfgaww/xYIFpBtp/TIbBToDHoNXDUKmKWf8l+3hr667LvHiXkRtF9IN5yX1HnceXxACa+aMz8KJq9tY4ZpKmog//fJ8DpTpELv3FIfmelqc4oUE75KJ+4b4TBTpegf+3SP/pDbzWc0CiX3vYtw3lcIC0cHtPtunY4jEHRVSqnakGeY35dwW8tDlFlCC33/opiYT32mBTMZ5/3Dj3tt69bVNkRD15BWTGjoahc/kL7RnBwNfYWypoNKJi8uB0YWa7qf9DhF1/8GM08kbdTHxzPdbuypEO8mKCOseFqaYigNMP+5ZiX82LsNlUSXpP3EtibNcWicPrKJMf4IGg3+Njlef7ix89ut/I1bEpG1WwovHUc7tAZ3FzOsVr1h1Vb5Aarq+ZEgw2HkJPlWKBNfLZbVGVxEPx/P+g5USA3It+RUH74nzt6FEiv5X7VQ419+gZb+wVxtOOhNAQJVj7oyPOaMdD/XOnM5a2tksCBBLkI3BxJirZ6u0rM+4MhqeCjzsfSTUx7cQh1NWPNuTfcgRkNCBwVH3dTuTDS3V9QQwWiWUHwXNhoYJV18QlUDrXF88mcmxW3tzY6Xvik9HxBFrA2OduDEODkqVJtaBSrnDz5LXps05BBR6fMKlcNk76pNZtMvz2EcAZG/sL0D5GV+S/xV9re1wd+/6zznfHYhpLvV/p2EDMRojGJCGNVDtExgz3ATN94zN3zCHOC739JK9bK0WeuTRKjNf1f9vWk/kJeb0SaVailAoWsH3lGQovLOnE/Gxr5Rj9EHig6S/u1PAh5TvIAw0g14/COTValfGz29cq27ReCf5LArExzJkA0GGXAHxxueM5ZLGcrbaabpdOxv54IlcVtdrjw50/bO0cbv9ChduzT93ILm15PdcKjqdNJnlJZ4giY+AOpGAGjNV5jpezUD+g20s1cN4wnTjEoDdYxmj5bSXVnTuRu3qHCl+El5ju/8b2b6/RwcmD5W8is7XNEaCOmhbmNDwuLatIsNUmF0IhAf6tVnnKrzIbZd9n5xmEPPYPN8v7LlJHGwYZhnHGAwo5V5JrspNB/F0fa/kjh/+xNWRPnzgJQSMQtg3ocyLpOnZ8gP8BI6sY+anyak04qMJpM8mBWPf3uth64kmJdpkXalt+AalWCG9AGGUeepinQnEAClIO387Mfm6DTu5seU47CTmfsbsKgslN5LQS1G2hBs3eJOjiopmg6UlOjxjg1KvZPoGPXg5hDb+gJB58HXlWe8Ylt9enfgu6JMI/Z9QY4dbzbF2torUTcquuqKlBhzliEwA3TLoWwXD4fgPx+Z7utN3/RncbDQYfYZUhYcmshes+2z/cXF3A9Uqh241yG+4e7ZR9PxdkTcxrN5fXJDfBnxnIMd+arqG5/j1Lz7MZzkhYa8jBfDT4uz0Ddj63vkLpL3VmRZKOqbmkRqZfpPp461Fonc0RrMs/uCsxR+rOgaKaAgXrpMHJy75LmRnIFGt5VUyCz1FUGCwnHD6YRTVta4bff+a8PJFrSWmlIszjt2eOdDVlstAKXiuJknblaVhh0utspliBTx30zw6j0ggIGjvAN12My/3ZsHIPxeh+xMGZ56ovqc4BBo6c2gswO8AU7teL6ZPMI5OMLNkDuABST2CB+LKYiWvN4U2ELEV4jySsC4OtPNAexh+2er/prVbXDFvDhgCHZOUNdjXSXlHg2WPxMtBEULbHrn5xzE3ATSvbJ/NZujO38cM/ooAeb4srwAkNFUPdPvHIZfdijURhiPFmzdIY2h6UyqIhOfxKaOs33feXuhWe6StDBrZuAl63U2jdibFjIc9ZeWD8ADOmSsfquqk4lhOC9RrV/1IX38ALtRpCEVLc1IsoWmglnhs+/WSm6Kp4d7psrpnhKRvo4JQ9dzwhEt45jA7NOStCTkbQYBQYb9Yxbn27T/LL3EUwKfhgwpgt3gyIdsOjVLNNeGjro4AQD0rY3iWJEr748TjbmB9HrqDRwJ8MEyQpcYxTvx2pnXVJr8X9RzojnSjrpmwUQTQOroAdPa//9Tcs5B88dh8LX//3llby62OnQhtAYvhbQwCSw5ZMWi4z1RDiws7MqzybgxdAarRQNhxFtfyGKo5+JA4yIszhSohkZo5+ThxFFZA35tBJkGjqitidbiHNyT8kV0BqOzjPuPC+Nr6X9NpzFh83STkXHcMMbkfIfRty86luYaWbPvVyw5hTDyJudb4TePi+wxMIwS/USvyKnlucgAhxJ0RY7ATDa1RRemU7aF6Z6NDFaDsd2Gq9QmMrbgh++5SCSFOHdEGepCy6NwSNsvuZxLW2dRcKqKSWz1aM8+uQzWWN+1cDpk03aF7eqF28srSVPsqcxakAVezu3Av3FqKaY1dFLH+kPIt4pOEGKne1FWHNgeAn0tM/FpGBKttn85pMX6qxoRqU1dEHxDQS7vvwiIPIZWI6c641ATEt5afv/2AeFv9n0Tz2unM3zk9vlwv4i3t8OwpVOeC8VG6wAw0d/gMsZLXIAsxKbzHueRWQ+X1zTuWZwE9k7m16g24xd1tNqAQIdDmdVw0ShLMAj2KENJ/aa21S2RrkuYwJ0aC6BsvuaRfNLgieV6tre4LpKCm6KjNjeITLbpY64DIXa+NpnpXmFswzIwhANQP/M2fdoqJKgHdvh86Rx1wkY4U1vCWDoaKfwxPg9R6Tn5gAu3jxJz6if4de/08071JwzpUFZ8B/iFl1cegBhkzl+87byJ9UKmc9DI3FGNP8vIvRP/CpkQRW5r7NoNcVPnTq5g3L6gbKwuQ1M8GZ7zQqTrqcyxA69hRYN/EXoy+ABT4Ng+5vgIk+MrwLEsV1wdV11PQypwq7d05HehY1/IOCLgxOxbWS/65SOW49R1ND3Ubc4DjhGSg1Iykq4kEJ6NrIFAbA1zmEQf/ZRqK5h6mNK+2ePy3a1unO20nrcl+tVvn1gCn15T3Ye9ApGRsV4xxSx9Y/AhnwiHP0yV2L0GXVyrERl6/QFObRv1q9adLkM9BXhcvbOT8CiRT7wqn+js2v8b7tUHQetyFxqZf4oNHZwaHNnsTGfalU+zUB7yy20/gpvrQOJPBPkNZqeKC7tM6GReopkK2jAppGMczIUOyhb+ovxIfNVZEi71but3AGO4VrZ21wrMqyR4vMUQtLbqZf7KMF7zg/xHBdT4vlCw9AyVwcrFUl2gptWKKYbwiOMNv5wDFwrw5bE1twZCAQkhYX3kXhhMUBi75rbeNl1HSx5ptUIk3b4q4pCiKoPGHat7CfITv0JyjVAe+7qvF6A9qYKLshAUsijc8RRG+Gd0RYQ6Rr5RLnccSXjU9sqBKSkijwJrlFaVEjRKb2ATf0LhLa1KCj0bfrCBtPJQ/vKuQ0YL131XoFmKNJH6QjD/O/15mSuzx4TZUcs6Wt0xQzEwd5oncE1SZYKontbhAei8Joz8uqp5Crm1FcTxqS/LAm/PkexVO5BzYUlR24HB3iD4RAcst72hzQKCXpF3z1PMCY6ZCO9rf44fx9bUcJ+onGtNuRAJeHWmWQrj2IsOMVy/B4tLHuWwozeYs6XhQB23f8vcHx/M6vjnKPInAVqtGlUGFtGKQWCbhJUa3OW+0/VGfviWwc4c4BiLFwgWFwTnI9nx/v6VLfj/5Mc3Z0z5qY28+1bXMeBnvsZzLdiZmysiPmducTJQtmyCHmhIisLoZ9dd6DMWwFBhPpwFMJstIaaPwkMDKc5aMStT+1tCt80mpgOInlPV90xd8scLQ8vpSTYW/P9SlZtde5LAVNrB2h3JNBKB5Yo6KWVxEjx3BwdQuTZgQgAPV5vLyi+WHrCxOj6GsGOI5FUi+R8OFM8XL/25cw0fp1yX2+LkmqUKmjC7HmmCm4nV6Kz+EOZUhCiauYlFC+44PVgt3YrfwVqKn60NNVUn6PWJs5eUnI2fPKRGm87+Y3DEXLmWrK2JVYsf6e/MGVcGEEqT9I4XcEEEI3WFu1JMzwxR6n43mLXRgWwbocKfnAj4X3flrZFKuGLwzIxEhfH+jB2kMR0dg7Dauzc9rusvgcdU/PcldkYLDcY2BOs1e2AWhkoL7YZIM3poG+wWNbt5PExWjBojmxyclMQely2nl5KojqR06TM8nYY8mUE3w8FWMiaKVbdYK4SEihMS8EcaXb9wfLwBeMDu2U9NyNE/3b/Obw0PpW8Zks+UTNPzGVlcXiLK0A3A9aQfWXgF5pEFSviy3heMzFrmFhwXc/SLb2R7q4yQB8nzmllU2DZUqyMEt/SGzZzyh5y+pDEvPDNbuDpSHMZycI9WgZRs+W5PXyTjhN27Kc/q2qvblX2JfQ3VX6iqd3sYZ+wDg1MTIMhqYHKUB/X/h2MeyPcLFn1V3YTPlFZ0qDB/hj/ErQyujleLC19ikAV/HRmgSM7RHopvQlgrDlkoO4zgVosb0l3vBzNPVneVjpyC73AT19LL3jufY=">
            <a:extLst>
              <a:ext uri="{FF2B5EF4-FFF2-40B4-BE49-F238E27FC236}">
                <a16:creationId xmlns:a16="http://schemas.microsoft.com/office/drawing/2014/main" id="{EFB10F75-3D5C-0E01-26C0-C97916CA1FD0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333959" y="1812923"/>
            <a:ext cx="11518715" cy="4488818"/>
          </a:xfrm>
          <a:prstGeom prst="rect">
            <a:avLst/>
          </a:prstGeom>
          <a:blipFill>
            <a:blip r:embed="rId10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DA912CE-D4B7-B700-5EA4-6E32652B004C}"/>
              </a:ext>
            </a:extLst>
          </p:cNvPr>
          <p:cNvPicPr>
            <a:picLocks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567" y="5703364"/>
            <a:ext cx="309694" cy="30969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2A74A1B-15A7-D1E7-A68F-03F691A83E5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8807" y="5703364"/>
            <a:ext cx="309694" cy="31056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CC54288-3178-36B1-2F65-E991B1D32BA5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5687" y="5703364"/>
            <a:ext cx="309694" cy="31056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4301110-6396-B372-AE87-7FC964F71EEF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001927" y="5703364"/>
            <a:ext cx="309694" cy="310468"/>
          </a:xfrm>
          <a:custGeom>
            <a:avLst/>
            <a:gdLst>
              <a:gd name="connsiteX0" fmla="*/ 274713 w 549426"/>
              <a:gd name="connsiteY0" fmla="*/ 0 h 550800"/>
              <a:gd name="connsiteX1" fmla="*/ 544518 w 549426"/>
              <a:gd name="connsiteY1" fmla="*/ 219897 h 550800"/>
              <a:gd name="connsiteX2" fmla="*/ 549426 w 549426"/>
              <a:gd name="connsiteY2" fmla="*/ 268585 h 550800"/>
              <a:gd name="connsiteX3" fmla="*/ 549426 w 549426"/>
              <a:gd name="connsiteY3" fmla="*/ 282215 h 550800"/>
              <a:gd name="connsiteX4" fmla="*/ 544518 w 549426"/>
              <a:gd name="connsiteY4" fmla="*/ 330903 h 550800"/>
              <a:gd name="connsiteX5" fmla="*/ 274713 w 549426"/>
              <a:gd name="connsiteY5" fmla="*/ 550800 h 550800"/>
              <a:gd name="connsiteX6" fmla="*/ 4908 w 549426"/>
              <a:gd name="connsiteY6" fmla="*/ 330903 h 550800"/>
              <a:gd name="connsiteX7" fmla="*/ 0 w 549426"/>
              <a:gd name="connsiteY7" fmla="*/ 282215 h 550800"/>
              <a:gd name="connsiteX8" fmla="*/ 0 w 549426"/>
              <a:gd name="connsiteY8" fmla="*/ 268585 h 550800"/>
              <a:gd name="connsiteX9" fmla="*/ 4908 w 549426"/>
              <a:gd name="connsiteY9" fmla="*/ 219897 h 550800"/>
              <a:gd name="connsiteX10" fmla="*/ 274713 w 549426"/>
              <a:gd name="connsiteY10" fmla="*/ 0 h 55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9426" h="550800">
                <a:moveTo>
                  <a:pt x="274713" y="0"/>
                </a:moveTo>
                <a:cubicBezTo>
                  <a:pt x="407800" y="0"/>
                  <a:pt x="518838" y="94403"/>
                  <a:pt x="544518" y="219897"/>
                </a:cubicBezTo>
                <a:lnTo>
                  <a:pt x="549426" y="268585"/>
                </a:lnTo>
                <a:lnTo>
                  <a:pt x="549426" y="282215"/>
                </a:lnTo>
                <a:lnTo>
                  <a:pt x="544518" y="330903"/>
                </a:lnTo>
                <a:cubicBezTo>
                  <a:pt x="518838" y="456398"/>
                  <a:pt x="407800" y="550800"/>
                  <a:pt x="274713" y="550800"/>
                </a:cubicBezTo>
                <a:cubicBezTo>
                  <a:pt x="141627" y="550800"/>
                  <a:pt x="30588" y="456398"/>
                  <a:pt x="4908" y="330903"/>
                </a:cubicBezTo>
                <a:lnTo>
                  <a:pt x="0" y="282215"/>
                </a:lnTo>
                <a:lnTo>
                  <a:pt x="0" y="268585"/>
                </a:lnTo>
                <a:lnTo>
                  <a:pt x="4908" y="219897"/>
                </a:lnTo>
                <a:cubicBezTo>
                  <a:pt x="30588" y="94403"/>
                  <a:pt x="141627" y="0"/>
                  <a:pt x="274713" y="0"/>
                </a:cubicBezTo>
                <a:close/>
              </a:path>
            </a:pathLst>
          </a:cu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AC04319-E026-6386-8FE7-4720012488E8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5047" y="5703364"/>
            <a:ext cx="309694" cy="309694"/>
          </a:xfrm>
          <a:prstGeom prst="rect">
            <a:avLst/>
          </a:prstGeom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6931997-6FD0-9354-7F60-7980A11A2428}"/>
              </a:ext>
            </a:extLst>
          </p:cNvPr>
          <p:cNvCxnSpPr/>
          <p:nvPr/>
        </p:nvCxnSpPr>
        <p:spPr bwMode="gray">
          <a:xfrm>
            <a:off x="2177486" y="2468880"/>
            <a:ext cx="0" cy="2987040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>
            <a:extLst>
              <a:ext uri="{FF2B5EF4-FFF2-40B4-BE49-F238E27FC236}">
                <a16:creationId xmlns:a16="http://schemas.microsoft.com/office/drawing/2014/main" id="{9D440DCA-4551-F9C0-D309-813311F7EE9F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8167" y="5703364"/>
            <a:ext cx="309694" cy="308819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5F7D8C4B-4C3A-AB5B-C02E-3C60BE8262F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811285" y="5703364"/>
            <a:ext cx="309694" cy="309694"/>
          </a:xfrm>
          <a:prstGeom prst="rect">
            <a:avLst/>
          </a:prstGeom>
        </p:spPr>
      </p:pic>
      <p:sp>
        <p:nvSpPr>
          <p:cNvPr id="56" name="CasellaDiTesto 55">
            <a:extLst>
              <a:ext uri="{FF2B5EF4-FFF2-40B4-BE49-F238E27FC236}">
                <a16:creationId xmlns:a16="http://schemas.microsoft.com/office/drawing/2014/main" id="{47ECAE71-725C-4E06-9909-82F73A7C655F}"/>
              </a:ext>
            </a:extLst>
          </p:cNvPr>
          <p:cNvSpPr txBox="1"/>
          <p:nvPr/>
        </p:nvSpPr>
        <p:spPr bwMode="gray">
          <a:xfrm>
            <a:off x="10430396" y="5455920"/>
            <a:ext cx="1073169" cy="24198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it-IT" sz="1100" dirty="0"/>
              <a:t>Media OCSE</a:t>
            </a:r>
          </a:p>
        </p:txBody>
      </p:sp>
      <p:sp>
        <p:nvSpPr>
          <p:cNvPr id="80" name="CasellaDiTesto 79">
            <a:extLst>
              <a:ext uri="{FF2B5EF4-FFF2-40B4-BE49-F238E27FC236}">
                <a16:creationId xmlns:a16="http://schemas.microsoft.com/office/drawing/2014/main" id="{1F02D859-8AC6-40EA-9C94-00C618B6BE3E}"/>
              </a:ext>
            </a:extLst>
          </p:cNvPr>
          <p:cNvSpPr txBox="1"/>
          <p:nvPr/>
        </p:nvSpPr>
        <p:spPr bwMode="gray">
          <a:xfrm>
            <a:off x="810908" y="5455920"/>
            <a:ext cx="1073169" cy="24198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it-IT" sz="1100" dirty="0"/>
              <a:t>Italia</a:t>
            </a:r>
          </a:p>
        </p:txBody>
      </p:sp>
      <p:sp>
        <p:nvSpPr>
          <p:cNvPr id="82" name="CasellaDiTesto 81">
            <a:extLst>
              <a:ext uri="{FF2B5EF4-FFF2-40B4-BE49-F238E27FC236}">
                <a16:creationId xmlns:a16="http://schemas.microsoft.com/office/drawing/2014/main" id="{87B98819-B889-4678-9F11-F0B6E7D221AC}"/>
              </a:ext>
            </a:extLst>
          </p:cNvPr>
          <p:cNvSpPr txBox="1"/>
          <p:nvPr/>
        </p:nvSpPr>
        <p:spPr bwMode="gray">
          <a:xfrm>
            <a:off x="2438540" y="5455920"/>
            <a:ext cx="1073169" cy="24198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it-IT" sz="1100" dirty="0"/>
              <a:t>Germania</a:t>
            </a:r>
          </a:p>
        </p:txBody>
      </p:sp>
      <p:sp>
        <p:nvSpPr>
          <p:cNvPr id="83" name="CasellaDiTesto 82">
            <a:extLst>
              <a:ext uri="{FF2B5EF4-FFF2-40B4-BE49-F238E27FC236}">
                <a16:creationId xmlns:a16="http://schemas.microsoft.com/office/drawing/2014/main" id="{05975FC1-D843-4163-95EE-09ABB73B740F}"/>
              </a:ext>
            </a:extLst>
          </p:cNvPr>
          <p:cNvSpPr txBox="1"/>
          <p:nvPr/>
        </p:nvSpPr>
        <p:spPr bwMode="gray">
          <a:xfrm>
            <a:off x="4038740" y="5455920"/>
            <a:ext cx="1073169" cy="24198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it-IT" sz="1100" dirty="0"/>
              <a:t>Spagna</a:t>
            </a:r>
          </a:p>
        </p:txBody>
      </p:sp>
      <p:sp>
        <p:nvSpPr>
          <p:cNvPr id="85" name="CasellaDiTesto 84">
            <a:extLst>
              <a:ext uri="{FF2B5EF4-FFF2-40B4-BE49-F238E27FC236}">
                <a16:creationId xmlns:a16="http://schemas.microsoft.com/office/drawing/2014/main" id="{CAE2AFBD-F787-4D54-8104-C0B159BA06A6}"/>
              </a:ext>
            </a:extLst>
          </p:cNvPr>
          <p:cNvSpPr txBox="1"/>
          <p:nvPr/>
        </p:nvSpPr>
        <p:spPr bwMode="gray">
          <a:xfrm>
            <a:off x="5638940" y="5455920"/>
            <a:ext cx="1073169" cy="24198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it-IT" sz="1100" dirty="0"/>
              <a:t>Francia</a:t>
            </a:r>
          </a:p>
        </p:txBody>
      </p:sp>
      <p:sp>
        <p:nvSpPr>
          <p:cNvPr id="109" name="CasellaDiTesto 108">
            <a:extLst>
              <a:ext uri="{FF2B5EF4-FFF2-40B4-BE49-F238E27FC236}">
                <a16:creationId xmlns:a16="http://schemas.microsoft.com/office/drawing/2014/main" id="{C5C217C0-A98B-45F2-85F8-BB8FBC1192DF}"/>
              </a:ext>
            </a:extLst>
          </p:cNvPr>
          <p:cNvSpPr txBox="1"/>
          <p:nvPr/>
        </p:nvSpPr>
        <p:spPr bwMode="gray">
          <a:xfrm>
            <a:off x="8839340" y="5455920"/>
            <a:ext cx="1073169" cy="24198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it-IT" sz="1100" dirty="0"/>
              <a:t>Media U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6645957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4" name="btfpColumnIndicatorGroup2">
            <a:extLst>
              <a:ext uri="{FF2B5EF4-FFF2-40B4-BE49-F238E27FC236}">
                <a16:creationId xmlns:a16="http://schemas.microsoft.com/office/drawing/2014/main" id="{ED1FA0CA-F7C0-BAAE-BEFE-566A0E4A9DE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82" name="btfpColumnGapBlocker319316">
              <a:extLst>
                <a:ext uri="{FF2B5EF4-FFF2-40B4-BE49-F238E27FC236}">
                  <a16:creationId xmlns:a16="http://schemas.microsoft.com/office/drawing/2014/main" id="{32FA9EC8-6F96-47BD-8CB8-5F69E1206B35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err="1">
                <a:solidFill>
                  <a:schemeClr val="tx1"/>
                </a:solidFill>
              </a:endParaRPr>
            </a:p>
          </p:txBody>
        </p:sp>
        <p:sp>
          <p:nvSpPr>
            <p:cNvPr id="180" name="btfpColumnGapBlocker474212">
              <a:extLst>
                <a:ext uri="{FF2B5EF4-FFF2-40B4-BE49-F238E27FC236}">
                  <a16:creationId xmlns:a16="http://schemas.microsoft.com/office/drawing/2014/main" id="{BF777809-959A-A672-4F85-E54E56B7D73F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8" name="btfpColumnIndicator789780">
              <a:extLst>
                <a:ext uri="{FF2B5EF4-FFF2-40B4-BE49-F238E27FC236}">
                  <a16:creationId xmlns:a16="http://schemas.microsoft.com/office/drawing/2014/main" id="{5AAB8127-98B1-E3F4-1908-47E92D92ECC9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btfpColumnIndicator273229">
              <a:extLst>
                <a:ext uri="{FF2B5EF4-FFF2-40B4-BE49-F238E27FC236}">
                  <a16:creationId xmlns:a16="http://schemas.microsoft.com/office/drawing/2014/main" id="{1FEC20C6-9E83-4511-A48E-A36F9F1D8E80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3" name="btfpColumnGapBlocker950208">
              <a:extLst>
                <a:ext uri="{FF2B5EF4-FFF2-40B4-BE49-F238E27FC236}">
                  <a16:creationId xmlns:a16="http://schemas.microsoft.com/office/drawing/2014/main" id="{BE37E5B8-086B-0D58-B65D-3EA6E086A670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1" name="btfpColumnIndicator526021">
              <a:extLst>
                <a:ext uri="{FF2B5EF4-FFF2-40B4-BE49-F238E27FC236}">
                  <a16:creationId xmlns:a16="http://schemas.microsoft.com/office/drawing/2014/main" id="{6380AB40-2137-7907-3CE3-33FBE4FE7F68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btfpColumnIndicator855199">
              <a:extLst>
                <a:ext uri="{FF2B5EF4-FFF2-40B4-BE49-F238E27FC236}">
                  <a16:creationId xmlns:a16="http://schemas.microsoft.com/office/drawing/2014/main" id="{F9CB3D8D-DB37-4AB9-4A45-DC4627554CC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7" name="btfpColumnGapBlocker708413">
              <a:extLst>
                <a:ext uri="{FF2B5EF4-FFF2-40B4-BE49-F238E27FC236}">
                  <a16:creationId xmlns:a16="http://schemas.microsoft.com/office/drawing/2014/main" id="{AA07DBAB-45F0-103A-4960-5961DA3AC91E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65" name="btfpColumnIndicator908473">
              <a:extLst>
                <a:ext uri="{FF2B5EF4-FFF2-40B4-BE49-F238E27FC236}">
                  <a16:creationId xmlns:a16="http://schemas.microsoft.com/office/drawing/2014/main" id="{10AAC9F5-1E00-75D4-9B5B-1DF5EE4705E6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btfpColumnIndicator394804">
              <a:extLst>
                <a:ext uri="{FF2B5EF4-FFF2-40B4-BE49-F238E27FC236}">
                  <a16:creationId xmlns:a16="http://schemas.microsoft.com/office/drawing/2014/main" id="{4FB12353-409C-9286-BE2A-3861D5A65398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3" name="btfpColumnIndicatorGroup1">
            <a:extLst>
              <a:ext uri="{FF2B5EF4-FFF2-40B4-BE49-F238E27FC236}">
                <a16:creationId xmlns:a16="http://schemas.microsoft.com/office/drawing/2014/main" id="{BEC56870-79FF-3918-A9F7-34454F3E7A4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81" name="btfpColumnGapBlocker730709">
              <a:extLst>
                <a:ext uri="{FF2B5EF4-FFF2-40B4-BE49-F238E27FC236}">
                  <a16:creationId xmlns:a16="http://schemas.microsoft.com/office/drawing/2014/main" id="{6B89FE95-97CF-AC0C-CD38-E30056599029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err="1">
                <a:solidFill>
                  <a:schemeClr val="tx1"/>
                </a:solidFill>
              </a:endParaRPr>
            </a:p>
          </p:txBody>
        </p:sp>
        <p:sp>
          <p:nvSpPr>
            <p:cNvPr id="179" name="btfpColumnGapBlocker881398">
              <a:extLst>
                <a:ext uri="{FF2B5EF4-FFF2-40B4-BE49-F238E27FC236}">
                  <a16:creationId xmlns:a16="http://schemas.microsoft.com/office/drawing/2014/main" id="{E1C28BD5-D8A5-22C9-EB56-3F3B22598FAC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7" name="btfpColumnIndicator172509">
              <a:extLst>
                <a:ext uri="{FF2B5EF4-FFF2-40B4-BE49-F238E27FC236}">
                  <a16:creationId xmlns:a16="http://schemas.microsoft.com/office/drawing/2014/main" id="{12B35D6E-CB68-8030-12DB-C55D31B0533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btfpColumnIndicator129950">
              <a:extLst>
                <a:ext uri="{FF2B5EF4-FFF2-40B4-BE49-F238E27FC236}">
                  <a16:creationId xmlns:a16="http://schemas.microsoft.com/office/drawing/2014/main" id="{A3063007-E1A3-6CF0-9BE7-0058CD37DD4E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2" name="btfpColumnGapBlocker672782">
              <a:extLst>
                <a:ext uri="{FF2B5EF4-FFF2-40B4-BE49-F238E27FC236}">
                  <a16:creationId xmlns:a16="http://schemas.microsoft.com/office/drawing/2014/main" id="{81A73590-ACF2-0716-8341-A3CC6CA004D0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70" name="btfpColumnIndicator949686">
              <a:extLst>
                <a:ext uri="{FF2B5EF4-FFF2-40B4-BE49-F238E27FC236}">
                  <a16:creationId xmlns:a16="http://schemas.microsoft.com/office/drawing/2014/main" id="{8F031925-EA24-4C01-740D-648A6DD49250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btfpColumnIndicator206359">
              <a:extLst>
                <a:ext uri="{FF2B5EF4-FFF2-40B4-BE49-F238E27FC236}">
                  <a16:creationId xmlns:a16="http://schemas.microsoft.com/office/drawing/2014/main" id="{B853DD50-FC13-6F12-FE58-96E5015D208F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6" name="btfpColumnGapBlocker442007">
              <a:extLst>
                <a:ext uri="{FF2B5EF4-FFF2-40B4-BE49-F238E27FC236}">
                  <a16:creationId xmlns:a16="http://schemas.microsoft.com/office/drawing/2014/main" id="{284246CD-B04B-6059-9E01-3BE9E748C0D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err="1">
                <a:solidFill>
                  <a:schemeClr val="tx1"/>
                </a:solidFill>
              </a:endParaRPr>
            </a:p>
          </p:txBody>
        </p:sp>
        <p:cxnSp>
          <p:nvCxnSpPr>
            <p:cNvPr id="164" name="btfpColumnIndicator245220">
              <a:extLst>
                <a:ext uri="{FF2B5EF4-FFF2-40B4-BE49-F238E27FC236}">
                  <a16:creationId xmlns:a16="http://schemas.microsoft.com/office/drawing/2014/main" id="{81DBDC55-D756-4C9C-99C3-89C5F82C27EA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btfpColumnIndicator105430">
              <a:extLst>
                <a:ext uri="{FF2B5EF4-FFF2-40B4-BE49-F238E27FC236}">
                  <a16:creationId xmlns:a16="http://schemas.microsoft.com/office/drawing/2014/main" id="{EE0A48FD-EBE6-616B-F2E1-78A67D5C6190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A4FC8D8F-1617-4B0F-B608-D88591E3A5F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6871632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Diapositiva think-cell" r:id="rId20" imgW="592" imgH="595" progId="TCLayout.ActiveDocument.1">
                  <p:embed/>
                </p:oleObj>
              </mc:Choice>
              <mc:Fallback>
                <p:oleObj name="Diapositiva think-cell" r:id="rId20" imgW="592" imgH="595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A4FC8D8F-1617-4B0F-B608-D88591E3A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4EC23B-D565-4845-A6C4-AF818A9A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sz="2133" dirty="0"/>
              <a:t>Dalla consapevolezza delle lacune del sistema universitario italiano sono nate le università telematiche, che soddisfano una parte importante della domanda di istruzione universitaria</a:t>
            </a:r>
          </a:p>
        </p:txBody>
      </p:sp>
      <p:grpSp>
        <p:nvGrpSpPr>
          <p:cNvPr id="13" name="btfpRunningAgenda1Level272891">
            <a:extLst>
              <a:ext uri="{FF2B5EF4-FFF2-40B4-BE49-F238E27FC236}">
                <a16:creationId xmlns:a16="http://schemas.microsoft.com/office/drawing/2014/main" id="{D54C1FEF-3FAA-420D-8F40-ED6BAFBFC061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0" y="944429"/>
            <a:ext cx="3320039" cy="257442"/>
            <a:chOff x="0" y="876300"/>
            <a:chExt cx="3320039" cy="257442"/>
          </a:xfrm>
        </p:grpSpPr>
        <p:sp>
          <p:nvSpPr>
            <p:cNvPr id="15" name="btfpRunningAgenda1LevelBarLeft272891">
              <a:extLst>
                <a:ext uri="{FF2B5EF4-FFF2-40B4-BE49-F238E27FC236}">
                  <a16:creationId xmlns:a16="http://schemas.microsoft.com/office/drawing/2014/main" id="{1A43CB72-5148-3D2B-FE93-E875F1FC76A3}"/>
                </a:ext>
              </a:extLst>
            </p:cNvPr>
            <p:cNvSpPr/>
            <p:nvPr/>
          </p:nvSpPr>
          <p:spPr bwMode="gray">
            <a:xfrm>
              <a:off x="0" y="876300"/>
              <a:ext cx="3320039" cy="257442"/>
            </a:xfrm>
            <a:custGeom>
              <a:avLst/>
              <a:gdLst>
                <a:gd name="connsiteX0" fmla="*/ 960419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60419 w 1816204"/>
                <a:gd name="connsiteY0" fmla="*/ 0 h 257442"/>
                <a:gd name="connsiteX1" fmla="*/ 905699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60419 w 960419"/>
                <a:gd name="connsiteY0" fmla="*/ 0 h 257442"/>
                <a:gd name="connsiteX1" fmla="*/ 905699 w 960419"/>
                <a:gd name="connsiteY1" fmla="*/ 257442 h 257442"/>
                <a:gd name="connsiteX2" fmla="*/ 1 w 960419"/>
                <a:gd name="connsiteY2" fmla="*/ 257442 h 257442"/>
                <a:gd name="connsiteX3" fmla="*/ 0 w 960419"/>
                <a:gd name="connsiteY3" fmla="*/ 257442 h 257442"/>
                <a:gd name="connsiteX0" fmla="*/ 960418 w 960418"/>
                <a:gd name="connsiteY0" fmla="*/ 0 h 257442"/>
                <a:gd name="connsiteX1" fmla="*/ 905698 w 960418"/>
                <a:gd name="connsiteY1" fmla="*/ 257442 h 257442"/>
                <a:gd name="connsiteX2" fmla="*/ 0 w 960418"/>
                <a:gd name="connsiteY2" fmla="*/ 257442 h 257442"/>
                <a:gd name="connsiteX3" fmla="*/ 1 w 960418"/>
                <a:gd name="connsiteY3" fmla="*/ 0 h 257442"/>
                <a:gd name="connsiteX0" fmla="*/ 1128734 w 1128734"/>
                <a:gd name="connsiteY0" fmla="*/ 0 h 257442"/>
                <a:gd name="connsiteX1" fmla="*/ 905698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1 w 1128734"/>
                <a:gd name="connsiteY3" fmla="*/ 0 h 257442"/>
                <a:gd name="connsiteX0" fmla="*/ 1128734 w 1128734"/>
                <a:gd name="connsiteY0" fmla="*/ 0 h 257442"/>
                <a:gd name="connsiteX1" fmla="*/ 1074013 w 1128734"/>
                <a:gd name="connsiteY1" fmla="*/ 257442 h 257442"/>
                <a:gd name="connsiteX2" fmla="*/ 0 w 1128734"/>
                <a:gd name="connsiteY2" fmla="*/ 257442 h 257442"/>
                <a:gd name="connsiteX3" fmla="*/ 0 w 1128734"/>
                <a:gd name="connsiteY3" fmla="*/ 0 h 257442"/>
                <a:gd name="connsiteX0" fmla="*/ 1382008 w 1382008"/>
                <a:gd name="connsiteY0" fmla="*/ 0 h 257442"/>
                <a:gd name="connsiteX1" fmla="*/ 1074013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382008 w 1382008"/>
                <a:gd name="connsiteY0" fmla="*/ 0 h 257442"/>
                <a:gd name="connsiteX1" fmla="*/ 1327287 w 1382008"/>
                <a:gd name="connsiteY1" fmla="*/ 257442 h 257442"/>
                <a:gd name="connsiteX2" fmla="*/ 0 w 1382008"/>
                <a:gd name="connsiteY2" fmla="*/ 257442 h 257442"/>
                <a:gd name="connsiteX3" fmla="*/ 0 w 1382008"/>
                <a:gd name="connsiteY3" fmla="*/ 0 h 257442"/>
                <a:gd name="connsiteX0" fmla="*/ 1550324 w 1550324"/>
                <a:gd name="connsiteY0" fmla="*/ 0 h 257442"/>
                <a:gd name="connsiteX1" fmla="*/ 1327287 w 1550324"/>
                <a:gd name="connsiteY1" fmla="*/ 257442 h 257442"/>
                <a:gd name="connsiteX2" fmla="*/ 0 w 1550324"/>
                <a:gd name="connsiteY2" fmla="*/ 257442 h 257442"/>
                <a:gd name="connsiteX3" fmla="*/ 0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0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0 w 1550324"/>
                <a:gd name="connsiteY3" fmla="*/ 0 h 257442"/>
                <a:gd name="connsiteX0" fmla="*/ 1550324 w 1550324"/>
                <a:gd name="connsiteY0" fmla="*/ 0 h 257442"/>
                <a:gd name="connsiteX1" fmla="*/ 1495603 w 1550324"/>
                <a:gd name="connsiteY1" fmla="*/ 257442 h 257442"/>
                <a:gd name="connsiteX2" fmla="*/ 0 w 1550324"/>
                <a:gd name="connsiteY2" fmla="*/ 257442 h 257442"/>
                <a:gd name="connsiteX3" fmla="*/ 0 w 1550324"/>
                <a:gd name="connsiteY3" fmla="*/ 0 h 257442"/>
                <a:gd name="connsiteX0" fmla="*/ 1710625 w 1710625"/>
                <a:gd name="connsiteY0" fmla="*/ 0 h 257442"/>
                <a:gd name="connsiteX1" fmla="*/ 1495603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979929 w 1979929"/>
                <a:gd name="connsiteY0" fmla="*/ 0 h 257442"/>
                <a:gd name="connsiteX1" fmla="*/ 1655904 w 1979929"/>
                <a:gd name="connsiteY1" fmla="*/ 257442 h 257442"/>
                <a:gd name="connsiteX2" fmla="*/ 0 w 1979929"/>
                <a:gd name="connsiteY2" fmla="*/ 257442 h 257442"/>
                <a:gd name="connsiteX3" fmla="*/ 0 w 1979929"/>
                <a:gd name="connsiteY3" fmla="*/ 0 h 257442"/>
                <a:gd name="connsiteX0" fmla="*/ 1979929 w 1979929"/>
                <a:gd name="connsiteY0" fmla="*/ 0 h 257442"/>
                <a:gd name="connsiteX1" fmla="*/ 1925208 w 1979929"/>
                <a:gd name="connsiteY1" fmla="*/ 257442 h 257442"/>
                <a:gd name="connsiteX2" fmla="*/ 0 w 1979929"/>
                <a:gd name="connsiteY2" fmla="*/ 257442 h 257442"/>
                <a:gd name="connsiteX3" fmla="*/ 0 w 1979929"/>
                <a:gd name="connsiteY3" fmla="*/ 0 h 257442"/>
                <a:gd name="connsiteX0" fmla="*/ 1979929 w 1979929"/>
                <a:gd name="connsiteY0" fmla="*/ 0 h 257442"/>
                <a:gd name="connsiteX1" fmla="*/ 1925208 w 1979929"/>
                <a:gd name="connsiteY1" fmla="*/ 257442 h 257442"/>
                <a:gd name="connsiteX2" fmla="*/ 0 w 1979929"/>
                <a:gd name="connsiteY2" fmla="*/ 257442 h 257442"/>
                <a:gd name="connsiteX3" fmla="*/ 0 w 1979929"/>
                <a:gd name="connsiteY3" fmla="*/ 0 h 257442"/>
                <a:gd name="connsiteX0" fmla="*/ 1979929 w 1979929"/>
                <a:gd name="connsiteY0" fmla="*/ 0 h 257442"/>
                <a:gd name="connsiteX1" fmla="*/ 1925208 w 1979929"/>
                <a:gd name="connsiteY1" fmla="*/ 257442 h 257442"/>
                <a:gd name="connsiteX2" fmla="*/ 0 w 1979929"/>
                <a:gd name="connsiteY2" fmla="*/ 257442 h 257442"/>
                <a:gd name="connsiteX3" fmla="*/ 0 w 1979929"/>
                <a:gd name="connsiteY3" fmla="*/ 0 h 257442"/>
                <a:gd name="connsiteX0" fmla="*/ 2148244 w 2148244"/>
                <a:gd name="connsiteY0" fmla="*/ 0 h 257442"/>
                <a:gd name="connsiteX1" fmla="*/ 1925208 w 2148244"/>
                <a:gd name="connsiteY1" fmla="*/ 257442 h 257442"/>
                <a:gd name="connsiteX2" fmla="*/ 0 w 2148244"/>
                <a:gd name="connsiteY2" fmla="*/ 257442 h 257442"/>
                <a:gd name="connsiteX3" fmla="*/ 0 w 2148244"/>
                <a:gd name="connsiteY3" fmla="*/ 0 h 257442"/>
                <a:gd name="connsiteX0" fmla="*/ 2148244 w 2148244"/>
                <a:gd name="connsiteY0" fmla="*/ 0 h 257442"/>
                <a:gd name="connsiteX1" fmla="*/ 2093522 w 2148244"/>
                <a:gd name="connsiteY1" fmla="*/ 257442 h 257442"/>
                <a:gd name="connsiteX2" fmla="*/ 0 w 2148244"/>
                <a:gd name="connsiteY2" fmla="*/ 257442 h 257442"/>
                <a:gd name="connsiteX3" fmla="*/ 0 w 2148244"/>
                <a:gd name="connsiteY3" fmla="*/ 0 h 257442"/>
                <a:gd name="connsiteX0" fmla="*/ 2148245 w 2148245"/>
                <a:gd name="connsiteY0" fmla="*/ 0 h 257442"/>
                <a:gd name="connsiteX1" fmla="*/ 2093523 w 2148245"/>
                <a:gd name="connsiteY1" fmla="*/ 257442 h 257442"/>
                <a:gd name="connsiteX2" fmla="*/ 0 w 2148245"/>
                <a:gd name="connsiteY2" fmla="*/ 257442 h 257442"/>
                <a:gd name="connsiteX3" fmla="*/ 1 w 2148245"/>
                <a:gd name="connsiteY3" fmla="*/ 0 h 257442"/>
                <a:gd name="connsiteX0" fmla="*/ 2148245 w 2148245"/>
                <a:gd name="connsiteY0" fmla="*/ 0 h 257442"/>
                <a:gd name="connsiteX1" fmla="*/ 2093523 w 2148245"/>
                <a:gd name="connsiteY1" fmla="*/ 257442 h 257442"/>
                <a:gd name="connsiteX2" fmla="*/ 0 w 2148245"/>
                <a:gd name="connsiteY2" fmla="*/ 257442 h 257442"/>
                <a:gd name="connsiteX3" fmla="*/ 1 w 2148245"/>
                <a:gd name="connsiteY3" fmla="*/ 0 h 257442"/>
                <a:gd name="connsiteX0" fmla="*/ 2409535 w 2409535"/>
                <a:gd name="connsiteY0" fmla="*/ 0 h 257442"/>
                <a:gd name="connsiteX1" fmla="*/ 2093523 w 2409535"/>
                <a:gd name="connsiteY1" fmla="*/ 257442 h 257442"/>
                <a:gd name="connsiteX2" fmla="*/ 0 w 2409535"/>
                <a:gd name="connsiteY2" fmla="*/ 257442 h 257442"/>
                <a:gd name="connsiteX3" fmla="*/ 1 w 2409535"/>
                <a:gd name="connsiteY3" fmla="*/ 0 h 257442"/>
                <a:gd name="connsiteX0" fmla="*/ 2409535 w 2409535"/>
                <a:gd name="connsiteY0" fmla="*/ 0 h 257442"/>
                <a:gd name="connsiteX1" fmla="*/ 2354814 w 2409535"/>
                <a:gd name="connsiteY1" fmla="*/ 257442 h 257442"/>
                <a:gd name="connsiteX2" fmla="*/ 0 w 2409535"/>
                <a:gd name="connsiteY2" fmla="*/ 257442 h 257442"/>
                <a:gd name="connsiteX3" fmla="*/ 1 w 2409535"/>
                <a:gd name="connsiteY3" fmla="*/ 0 h 257442"/>
                <a:gd name="connsiteX0" fmla="*/ 2409534 w 2409534"/>
                <a:gd name="connsiteY0" fmla="*/ 0 h 257442"/>
                <a:gd name="connsiteX1" fmla="*/ 2354813 w 2409534"/>
                <a:gd name="connsiteY1" fmla="*/ 257442 h 257442"/>
                <a:gd name="connsiteX2" fmla="*/ 0 w 2409534"/>
                <a:gd name="connsiteY2" fmla="*/ 257442 h 257442"/>
                <a:gd name="connsiteX3" fmla="*/ 0 w 2409534"/>
                <a:gd name="connsiteY3" fmla="*/ 0 h 257442"/>
                <a:gd name="connsiteX0" fmla="*/ 2409535 w 2409535"/>
                <a:gd name="connsiteY0" fmla="*/ 0 h 257442"/>
                <a:gd name="connsiteX1" fmla="*/ 2354814 w 2409535"/>
                <a:gd name="connsiteY1" fmla="*/ 257442 h 257442"/>
                <a:gd name="connsiteX2" fmla="*/ 1 w 2409535"/>
                <a:gd name="connsiteY2" fmla="*/ 257442 h 257442"/>
                <a:gd name="connsiteX3" fmla="*/ 0 w 2409535"/>
                <a:gd name="connsiteY3" fmla="*/ 0 h 257442"/>
                <a:gd name="connsiteX0" fmla="*/ 2569835 w 2569835"/>
                <a:gd name="connsiteY0" fmla="*/ 0 h 257442"/>
                <a:gd name="connsiteX1" fmla="*/ 2354814 w 2569835"/>
                <a:gd name="connsiteY1" fmla="*/ 257442 h 257442"/>
                <a:gd name="connsiteX2" fmla="*/ 1 w 2569835"/>
                <a:gd name="connsiteY2" fmla="*/ 257442 h 257442"/>
                <a:gd name="connsiteX3" fmla="*/ 0 w 2569835"/>
                <a:gd name="connsiteY3" fmla="*/ 0 h 257442"/>
                <a:gd name="connsiteX0" fmla="*/ 2569835 w 2569835"/>
                <a:gd name="connsiteY0" fmla="*/ 0 h 257442"/>
                <a:gd name="connsiteX1" fmla="*/ 2515114 w 2569835"/>
                <a:gd name="connsiteY1" fmla="*/ 257442 h 257442"/>
                <a:gd name="connsiteX2" fmla="*/ 1 w 2569835"/>
                <a:gd name="connsiteY2" fmla="*/ 257442 h 257442"/>
                <a:gd name="connsiteX3" fmla="*/ 0 w 2569835"/>
                <a:gd name="connsiteY3" fmla="*/ 0 h 257442"/>
                <a:gd name="connsiteX0" fmla="*/ 2569835 w 2569835"/>
                <a:gd name="connsiteY0" fmla="*/ 0 h 257442"/>
                <a:gd name="connsiteX1" fmla="*/ 2515114 w 2569835"/>
                <a:gd name="connsiteY1" fmla="*/ 257442 h 257442"/>
                <a:gd name="connsiteX2" fmla="*/ 1 w 2569835"/>
                <a:gd name="connsiteY2" fmla="*/ 257442 h 257442"/>
                <a:gd name="connsiteX3" fmla="*/ 0 w 2569835"/>
                <a:gd name="connsiteY3" fmla="*/ 0 h 257442"/>
                <a:gd name="connsiteX0" fmla="*/ 2569834 w 2569834"/>
                <a:gd name="connsiteY0" fmla="*/ 0 h 257442"/>
                <a:gd name="connsiteX1" fmla="*/ 2515113 w 2569834"/>
                <a:gd name="connsiteY1" fmla="*/ 257442 h 257442"/>
                <a:gd name="connsiteX2" fmla="*/ 0 w 2569834"/>
                <a:gd name="connsiteY2" fmla="*/ 257442 h 257442"/>
                <a:gd name="connsiteX3" fmla="*/ 0 w 2569834"/>
                <a:gd name="connsiteY3" fmla="*/ 0 h 257442"/>
                <a:gd name="connsiteX0" fmla="*/ 2738148 w 2738148"/>
                <a:gd name="connsiteY0" fmla="*/ 0 h 257442"/>
                <a:gd name="connsiteX1" fmla="*/ 2515113 w 2738148"/>
                <a:gd name="connsiteY1" fmla="*/ 257442 h 257442"/>
                <a:gd name="connsiteX2" fmla="*/ 0 w 2738148"/>
                <a:gd name="connsiteY2" fmla="*/ 257442 h 257442"/>
                <a:gd name="connsiteX3" fmla="*/ 0 w 2738148"/>
                <a:gd name="connsiteY3" fmla="*/ 0 h 257442"/>
                <a:gd name="connsiteX0" fmla="*/ 2738148 w 2738148"/>
                <a:gd name="connsiteY0" fmla="*/ 0 h 257442"/>
                <a:gd name="connsiteX1" fmla="*/ 2683427 w 2738148"/>
                <a:gd name="connsiteY1" fmla="*/ 257442 h 257442"/>
                <a:gd name="connsiteX2" fmla="*/ 0 w 2738148"/>
                <a:gd name="connsiteY2" fmla="*/ 257442 h 257442"/>
                <a:gd name="connsiteX3" fmla="*/ 0 w 2738148"/>
                <a:gd name="connsiteY3" fmla="*/ 0 h 257442"/>
                <a:gd name="connsiteX0" fmla="*/ 2738149 w 2738149"/>
                <a:gd name="connsiteY0" fmla="*/ 0 h 257442"/>
                <a:gd name="connsiteX1" fmla="*/ 2683428 w 2738149"/>
                <a:gd name="connsiteY1" fmla="*/ 257442 h 257442"/>
                <a:gd name="connsiteX2" fmla="*/ 0 w 2738149"/>
                <a:gd name="connsiteY2" fmla="*/ 257442 h 257442"/>
                <a:gd name="connsiteX3" fmla="*/ 1 w 2738149"/>
                <a:gd name="connsiteY3" fmla="*/ 0 h 257442"/>
                <a:gd name="connsiteX0" fmla="*/ 2738149 w 2738149"/>
                <a:gd name="connsiteY0" fmla="*/ 0 h 257442"/>
                <a:gd name="connsiteX1" fmla="*/ 2683428 w 2738149"/>
                <a:gd name="connsiteY1" fmla="*/ 257442 h 257442"/>
                <a:gd name="connsiteX2" fmla="*/ 0 w 2738149"/>
                <a:gd name="connsiteY2" fmla="*/ 257442 h 257442"/>
                <a:gd name="connsiteX3" fmla="*/ 1 w 2738149"/>
                <a:gd name="connsiteY3" fmla="*/ 0 h 257442"/>
                <a:gd name="connsiteX0" fmla="*/ 2898450 w 2898450"/>
                <a:gd name="connsiteY0" fmla="*/ 0 h 257442"/>
                <a:gd name="connsiteX1" fmla="*/ 2683428 w 2898450"/>
                <a:gd name="connsiteY1" fmla="*/ 257442 h 257442"/>
                <a:gd name="connsiteX2" fmla="*/ 0 w 2898450"/>
                <a:gd name="connsiteY2" fmla="*/ 257442 h 257442"/>
                <a:gd name="connsiteX3" fmla="*/ 1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1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1 w 2898450"/>
                <a:gd name="connsiteY3" fmla="*/ 0 h 257442"/>
                <a:gd name="connsiteX0" fmla="*/ 2898450 w 2898450"/>
                <a:gd name="connsiteY0" fmla="*/ 0 h 257442"/>
                <a:gd name="connsiteX1" fmla="*/ 2843728 w 2898450"/>
                <a:gd name="connsiteY1" fmla="*/ 257442 h 257442"/>
                <a:gd name="connsiteX2" fmla="*/ 0 w 2898450"/>
                <a:gd name="connsiteY2" fmla="*/ 257442 h 257442"/>
                <a:gd name="connsiteX3" fmla="*/ 0 w 2898450"/>
                <a:gd name="connsiteY3" fmla="*/ 0 h 257442"/>
                <a:gd name="connsiteX0" fmla="*/ 3151724 w 3151724"/>
                <a:gd name="connsiteY0" fmla="*/ 0 h 257442"/>
                <a:gd name="connsiteX1" fmla="*/ 2843728 w 3151724"/>
                <a:gd name="connsiteY1" fmla="*/ 257442 h 257442"/>
                <a:gd name="connsiteX2" fmla="*/ 0 w 3151724"/>
                <a:gd name="connsiteY2" fmla="*/ 257442 h 257442"/>
                <a:gd name="connsiteX3" fmla="*/ 0 w 3151724"/>
                <a:gd name="connsiteY3" fmla="*/ 0 h 257442"/>
                <a:gd name="connsiteX0" fmla="*/ 3151724 w 3151724"/>
                <a:gd name="connsiteY0" fmla="*/ 0 h 257442"/>
                <a:gd name="connsiteX1" fmla="*/ 3097003 w 3151724"/>
                <a:gd name="connsiteY1" fmla="*/ 257442 h 257442"/>
                <a:gd name="connsiteX2" fmla="*/ 0 w 3151724"/>
                <a:gd name="connsiteY2" fmla="*/ 257442 h 257442"/>
                <a:gd name="connsiteX3" fmla="*/ 0 w 3151724"/>
                <a:gd name="connsiteY3" fmla="*/ 0 h 257442"/>
                <a:gd name="connsiteX0" fmla="*/ 3151724 w 3151724"/>
                <a:gd name="connsiteY0" fmla="*/ 0 h 257442"/>
                <a:gd name="connsiteX1" fmla="*/ 3097003 w 3151724"/>
                <a:gd name="connsiteY1" fmla="*/ 257442 h 257442"/>
                <a:gd name="connsiteX2" fmla="*/ 0 w 3151724"/>
                <a:gd name="connsiteY2" fmla="*/ 257442 h 257442"/>
                <a:gd name="connsiteX3" fmla="*/ 0 w 3151724"/>
                <a:gd name="connsiteY3" fmla="*/ 0 h 257442"/>
                <a:gd name="connsiteX0" fmla="*/ 3151724 w 3151724"/>
                <a:gd name="connsiteY0" fmla="*/ 0 h 257442"/>
                <a:gd name="connsiteX1" fmla="*/ 3097003 w 3151724"/>
                <a:gd name="connsiteY1" fmla="*/ 257442 h 257442"/>
                <a:gd name="connsiteX2" fmla="*/ 0 w 3151724"/>
                <a:gd name="connsiteY2" fmla="*/ 257442 h 257442"/>
                <a:gd name="connsiteX3" fmla="*/ 0 w 3151724"/>
                <a:gd name="connsiteY3" fmla="*/ 0 h 257442"/>
                <a:gd name="connsiteX0" fmla="*/ 3413014 w 3413014"/>
                <a:gd name="connsiteY0" fmla="*/ 0 h 257442"/>
                <a:gd name="connsiteX1" fmla="*/ 3097003 w 3413014"/>
                <a:gd name="connsiteY1" fmla="*/ 257442 h 257442"/>
                <a:gd name="connsiteX2" fmla="*/ 0 w 3413014"/>
                <a:gd name="connsiteY2" fmla="*/ 257442 h 257442"/>
                <a:gd name="connsiteX3" fmla="*/ 0 w 3413014"/>
                <a:gd name="connsiteY3" fmla="*/ 0 h 257442"/>
                <a:gd name="connsiteX0" fmla="*/ 3413014 w 3413014"/>
                <a:gd name="connsiteY0" fmla="*/ 0 h 257442"/>
                <a:gd name="connsiteX1" fmla="*/ 3358293 w 3413014"/>
                <a:gd name="connsiteY1" fmla="*/ 257442 h 257442"/>
                <a:gd name="connsiteX2" fmla="*/ 0 w 3413014"/>
                <a:gd name="connsiteY2" fmla="*/ 257442 h 257442"/>
                <a:gd name="connsiteX3" fmla="*/ 0 w 3413014"/>
                <a:gd name="connsiteY3" fmla="*/ 0 h 257442"/>
                <a:gd name="connsiteX0" fmla="*/ 3413014 w 3413014"/>
                <a:gd name="connsiteY0" fmla="*/ 0 h 257442"/>
                <a:gd name="connsiteX1" fmla="*/ 3358293 w 3413014"/>
                <a:gd name="connsiteY1" fmla="*/ 257442 h 257442"/>
                <a:gd name="connsiteX2" fmla="*/ 0 w 3413014"/>
                <a:gd name="connsiteY2" fmla="*/ 257442 h 257442"/>
                <a:gd name="connsiteX3" fmla="*/ 0 w 3413014"/>
                <a:gd name="connsiteY3" fmla="*/ 0 h 257442"/>
                <a:gd name="connsiteX0" fmla="*/ 3413014 w 3413014"/>
                <a:gd name="connsiteY0" fmla="*/ 0 h 257442"/>
                <a:gd name="connsiteX1" fmla="*/ 3358293 w 3413014"/>
                <a:gd name="connsiteY1" fmla="*/ 257442 h 257442"/>
                <a:gd name="connsiteX2" fmla="*/ 0 w 3413014"/>
                <a:gd name="connsiteY2" fmla="*/ 257442 h 257442"/>
                <a:gd name="connsiteX3" fmla="*/ 0 w 3413014"/>
                <a:gd name="connsiteY3" fmla="*/ 0 h 257442"/>
                <a:gd name="connsiteX0" fmla="*/ 3573314 w 3573314"/>
                <a:gd name="connsiteY0" fmla="*/ 0 h 257442"/>
                <a:gd name="connsiteX1" fmla="*/ 3358293 w 3573314"/>
                <a:gd name="connsiteY1" fmla="*/ 257442 h 257442"/>
                <a:gd name="connsiteX2" fmla="*/ 0 w 3573314"/>
                <a:gd name="connsiteY2" fmla="*/ 257442 h 257442"/>
                <a:gd name="connsiteX3" fmla="*/ 0 w 3573314"/>
                <a:gd name="connsiteY3" fmla="*/ 0 h 257442"/>
                <a:gd name="connsiteX0" fmla="*/ 3573314 w 3573314"/>
                <a:gd name="connsiteY0" fmla="*/ 0 h 257442"/>
                <a:gd name="connsiteX1" fmla="*/ 3518593 w 3573314"/>
                <a:gd name="connsiteY1" fmla="*/ 257442 h 257442"/>
                <a:gd name="connsiteX2" fmla="*/ 0 w 3573314"/>
                <a:gd name="connsiteY2" fmla="*/ 257442 h 257442"/>
                <a:gd name="connsiteX3" fmla="*/ 0 w 3573314"/>
                <a:gd name="connsiteY3" fmla="*/ 0 h 257442"/>
                <a:gd name="connsiteX0" fmla="*/ 3573314 w 3573314"/>
                <a:gd name="connsiteY0" fmla="*/ 0 h 257442"/>
                <a:gd name="connsiteX1" fmla="*/ 3518593 w 3573314"/>
                <a:gd name="connsiteY1" fmla="*/ 257442 h 257442"/>
                <a:gd name="connsiteX2" fmla="*/ 0 w 3573314"/>
                <a:gd name="connsiteY2" fmla="*/ 257442 h 257442"/>
                <a:gd name="connsiteX3" fmla="*/ 0 w 3573314"/>
                <a:gd name="connsiteY3" fmla="*/ 0 h 257442"/>
                <a:gd name="connsiteX0" fmla="*/ 3573314 w 3573314"/>
                <a:gd name="connsiteY0" fmla="*/ 0 h 257442"/>
                <a:gd name="connsiteX1" fmla="*/ 3518593 w 3573314"/>
                <a:gd name="connsiteY1" fmla="*/ 257442 h 257442"/>
                <a:gd name="connsiteX2" fmla="*/ 0 w 3573314"/>
                <a:gd name="connsiteY2" fmla="*/ 257442 h 257442"/>
                <a:gd name="connsiteX3" fmla="*/ 0 w 3573314"/>
                <a:gd name="connsiteY3" fmla="*/ 0 h 257442"/>
                <a:gd name="connsiteX0" fmla="*/ 950801 w 3518593"/>
                <a:gd name="connsiteY0" fmla="*/ 0 h 257442"/>
                <a:gd name="connsiteX1" fmla="*/ 3518593 w 3518593"/>
                <a:gd name="connsiteY1" fmla="*/ 257442 h 257442"/>
                <a:gd name="connsiteX2" fmla="*/ 0 w 3518593"/>
                <a:gd name="connsiteY2" fmla="*/ 257442 h 257442"/>
                <a:gd name="connsiteX3" fmla="*/ 0 w 3518593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0 w 950801"/>
                <a:gd name="connsiteY2" fmla="*/ 257442 h 257442"/>
                <a:gd name="connsiteX3" fmla="*/ 0 w 950801"/>
                <a:gd name="connsiteY3" fmla="*/ 0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0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5 w 1119115"/>
                <a:gd name="connsiteY0" fmla="*/ 0 h 257442"/>
                <a:gd name="connsiteX1" fmla="*/ 896080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380406 w 1380406"/>
                <a:gd name="connsiteY0" fmla="*/ 0 h 257442"/>
                <a:gd name="connsiteX1" fmla="*/ 106439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540706 w 1540706"/>
                <a:gd name="connsiteY0" fmla="*/ 0 h 257442"/>
                <a:gd name="connsiteX1" fmla="*/ 13256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709021 w 1709021"/>
                <a:gd name="connsiteY0" fmla="*/ 0 h 257442"/>
                <a:gd name="connsiteX1" fmla="*/ 1485985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869321 w 1869321"/>
                <a:gd name="connsiteY0" fmla="*/ 0 h 257442"/>
                <a:gd name="connsiteX1" fmla="*/ 16543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2122596 w 2122596"/>
                <a:gd name="connsiteY0" fmla="*/ 0 h 257442"/>
                <a:gd name="connsiteX1" fmla="*/ 1814600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300531 w 2300531"/>
                <a:gd name="connsiteY0" fmla="*/ 0 h 257442"/>
                <a:gd name="connsiteX1" fmla="*/ 2067875 w 2300531"/>
                <a:gd name="connsiteY1" fmla="*/ 257442 h 257442"/>
                <a:gd name="connsiteX2" fmla="*/ 0 w 2300531"/>
                <a:gd name="connsiteY2" fmla="*/ 257442 h 257442"/>
                <a:gd name="connsiteX3" fmla="*/ 1 w 2300531"/>
                <a:gd name="connsiteY3" fmla="*/ 0 h 257442"/>
                <a:gd name="connsiteX0" fmla="*/ 2300531 w 2300531"/>
                <a:gd name="connsiteY0" fmla="*/ 0 h 257442"/>
                <a:gd name="connsiteX1" fmla="*/ 2245810 w 2300531"/>
                <a:gd name="connsiteY1" fmla="*/ 257442 h 257442"/>
                <a:gd name="connsiteX2" fmla="*/ 0 w 2300531"/>
                <a:gd name="connsiteY2" fmla="*/ 257442 h 257442"/>
                <a:gd name="connsiteX3" fmla="*/ 1 w 2300531"/>
                <a:gd name="connsiteY3" fmla="*/ 0 h 257442"/>
                <a:gd name="connsiteX0" fmla="*/ 2300530 w 2300530"/>
                <a:gd name="connsiteY0" fmla="*/ 0 h 257442"/>
                <a:gd name="connsiteX1" fmla="*/ 2245809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300531 w 2300531"/>
                <a:gd name="connsiteY0" fmla="*/ 0 h 257442"/>
                <a:gd name="connsiteX1" fmla="*/ 2245810 w 2300531"/>
                <a:gd name="connsiteY1" fmla="*/ 257442 h 257442"/>
                <a:gd name="connsiteX2" fmla="*/ 1 w 2300531"/>
                <a:gd name="connsiteY2" fmla="*/ 257442 h 257442"/>
                <a:gd name="connsiteX3" fmla="*/ 0 w 2300531"/>
                <a:gd name="connsiteY3" fmla="*/ 0 h 257442"/>
                <a:gd name="connsiteX0" fmla="*/ 2122597 w 2245810"/>
                <a:gd name="connsiteY0" fmla="*/ 0 h 257442"/>
                <a:gd name="connsiteX1" fmla="*/ 2245810 w 2245810"/>
                <a:gd name="connsiteY1" fmla="*/ 257442 h 257442"/>
                <a:gd name="connsiteX2" fmla="*/ 1 w 2245810"/>
                <a:gd name="connsiteY2" fmla="*/ 257442 h 257442"/>
                <a:gd name="connsiteX3" fmla="*/ 0 w 2245810"/>
                <a:gd name="connsiteY3" fmla="*/ 0 h 257442"/>
                <a:gd name="connsiteX0" fmla="*/ 2122597 w 2122597"/>
                <a:gd name="connsiteY0" fmla="*/ 0 h 257442"/>
                <a:gd name="connsiteX1" fmla="*/ 2067876 w 2122597"/>
                <a:gd name="connsiteY1" fmla="*/ 257442 h 257442"/>
                <a:gd name="connsiteX2" fmla="*/ 1 w 2122597"/>
                <a:gd name="connsiteY2" fmla="*/ 257442 h 257442"/>
                <a:gd name="connsiteX3" fmla="*/ 0 w 2122597"/>
                <a:gd name="connsiteY3" fmla="*/ 0 h 257442"/>
                <a:gd name="connsiteX0" fmla="*/ 2122597 w 2122597"/>
                <a:gd name="connsiteY0" fmla="*/ 0 h 257442"/>
                <a:gd name="connsiteX1" fmla="*/ 2067876 w 2122597"/>
                <a:gd name="connsiteY1" fmla="*/ 257442 h 257442"/>
                <a:gd name="connsiteX2" fmla="*/ 2 w 2122597"/>
                <a:gd name="connsiteY2" fmla="*/ 257442 h 257442"/>
                <a:gd name="connsiteX3" fmla="*/ 0 w 2122597"/>
                <a:gd name="connsiteY3" fmla="*/ 0 h 257442"/>
                <a:gd name="connsiteX0" fmla="*/ 2122595 w 2122595"/>
                <a:gd name="connsiteY0" fmla="*/ 0 h 257442"/>
                <a:gd name="connsiteX1" fmla="*/ 2067874 w 2122595"/>
                <a:gd name="connsiteY1" fmla="*/ 257442 h 257442"/>
                <a:gd name="connsiteX2" fmla="*/ 0 w 2122595"/>
                <a:gd name="connsiteY2" fmla="*/ 257442 h 257442"/>
                <a:gd name="connsiteX3" fmla="*/ 0 w 2122595"/>
                <a:gd name="connsiteY3" fmla="*/ 0 h 257442"/>
                <a:gd name="connsiteX0" fmla="*/ 2300530 w 2300530"/>
                <a:gd name="connsiteY0" fmla="*/ 0 h 257442"/>
                <a:gd name="connsiteX1" fmla="*/ 2067874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300530 w 2300530"/>
                <a:gd name="connsiteY0" fmla="*/ 0 h 257442"/>
                <a:gd name="connsiteX1" fmla="*/ 2245808 w 2300530"/>
                <a:gd name="connsiteY1" fmla="*/ 257442 h 257442"/>
                <a:gd name="connsiteX2" fmla="*/ 0 w 2300530"/>
                <a:gd name="connsiteY2" fmla="*/ 257442 h 257442"/>
                <a:gd name="connsiteX3" fmla="*/ 0 w 2300530"/>
                <a:gd name="connsiteY3" fmla="*/ 0 h 257442"/>
                <a:gd name="connsiteX0" fmla="*/ 2300531 w 2300531"/>
                <a:gd name="connsiteY0" fmla="*/ 0 h 257442"/>
                <a:gd name="connsiteX1" fmla="*/ 2245809 w 2300531"/>
                <a:gd name="connsiteY1" fmla="*/ 257442 h 257442"/>
                <a:gd name="connsiteX2" fmla="*/ 0 w 2300531"/>
                <a:gd name="connsiteY2" fmla="*/ 257442 h 257442"/>
                <a:gd name="connsiteX3" fmla="*/ 1 w 2300531"/>
                <a:gd name="connsiteY3" fmla="*/ 0 h 257442"/>
                <a:gd name="connsiteX0" fmla="*/ 2300531 w 2300531"/>
                <a:gd name="connsiteY0" fmla="*/ 0 h 257442"/>
                <a:gd name="connsiteX1" fmla="*/ 2245809 w 2300531"/>
                <a:gd name="connsiteY1" fmla="*/ 257442 h 257442"/>
                <a:gd name="connsiteX2" fmla="*/ 0 w 2300531"/>
                <a:gd name="connsiteY2" fmla="*/ 257442 h 257442"/>
                <a:gd name="connsiteX3" fmla="*/ 1 w 2300531"/>
                <a:gd name="connsiteY3" fmla="*/ 0 h 257442"/>
                <a:gd name="connsiteX0" fmla="*/ 2122597 w 2245809"/>
                <a:gd name="connsiteY0" fmla="*/ 0 h 257442"/>
                <a:gd name="connsiteX1" fmla="*/ 2245809 w 2245809"/>
                <a:gd name="connsiteY1" fmla="*/ 257442 h 257442"/>
                <a:gd name="connsiteX2" fmla="*/ 0 w 2245809"/>
                <a:gd name="connsiteY2" fmla="*/ 257442 h 257442"/>
                <a:gd name="connsiteX3" fmla="*/ 1 w 2245809"/>
                <a:gd name="connsiteY3" fmla="*/ 0 h 257442"/>
                <a:gd name="connsiteX0" fmla="*/ 2122597 w 2122597"/>
                <a:gd name="connsiteY0" fmla="*/ 0 h 257442"/>
                <a:gd name="connsiteX1" fmla="*/ 2067876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122596 w 2122596"/>
                <a:gd name="connsiteY0" fmla="*/ 0 h 257442"/>
                <a:gd name="connsiteX1" fmla="*/ 2067875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7 w 2122597"/>
                <a:gd name="connsiteY0" fmla="*/ 0 h 257442"/>
                <a:gd name="connsiteX1" fmla="*/ 2067876 w 2122597"/>
                <a:gd name="connsiteY1" fmla="*/ 257442 h 257442"/>
                <a:gd name="connsiteX2" fmla="*/ 1 w 2122597"/>
                <a:gd name="connsiteY2" fmla="*/ 257442 h 257442"/>
                <a:gd name="connsiteX3" fmla="*/ 0 w 2122597"/>
                <a:gd name="connsiteY3" fmla="*/ 0 h 257442"/>
                <a:gd name="connsiteX0" fmla="*/ 2290913 w 2290913"/>
                <a:gd name="connsiteY0" fmla="*/ 0 h 257442"/>
                <a:gd name="connsiteX1" fmla="*/ 2067876 w 2290913"/>
                <a:gd name="connsiteY1" fmla="*/ 257442 h 257442"/>
                <a:gd name="connsiteX2" fmla="*/ 1 w 2290913"/>
                <a:gd name="connsiteY2" fmla="*/ 257442 h 257442"/>
                <a:gd name="connsiteX3" fmla="*/ 0 w 2290913"/>
                <a:gd name="connsiteY3" fmla="*/ 0 h 257442"/>
                <a:gd name="connsiteX0" fmla="*/ 2290913 w 2290913"/>
                <a:gd name="connsiteY0" fmla="*/ 0 h 257442"/>
                <a:gd name="connsiteX1" fmla="*/ 2236192 w 2290913"/>
                <a:gd name="connsiteY1" fmla="*/ 257442 h 257442"/>
                <a:gd name="connsiteX2" fmla="*/ 1 w 2290913"/>
                <a:gd name="connsiteY2" fmla="*/ 257442 h 257442"/>
                <a:gd name="connsiteX3" fmla="*/ 0 w 2290913"/>
                <a:gd name="connsiteY3" fmla="*/ 0 h 257442"/>
                <a:gd name="connsiteX0" fmla="*/ 2290913 w 2290913"/>
                <a:gd name="connsiteY0" fmla="*/ 0 h 257442"/>
                <a:gd name="connsiteX1" fmla="*/ 2236192 w 2290913"/>
                <a:gd name="connsiteY1" fmla="*/ 257442 h 257442"/>
                <a:gd name="connsiteX2" fmla="*/ 1 w 2290913"/>
                <a:gd name="connsiteY2" fmla="*/ 257442 h 257442"/>
                <a:gd name="connsiteX3" fmla="*/ 0 w 2290913"/>
                <a:gd name="connsiteY3" fmla="*/ 0 h 257442"/>
                <a:gd name="connsiteX0" fmla="*/ 2290912 w 2290912"/>
                <a:gd name="connsiteY0" fmla="*/ 0 h 257442"/>
                <a:gd name="connsiteX1" fmla="*/ 2236191 w 2290912"/>
                <a:gd name="connsiteY1" fmla="*/ 257442 h 257442"/>
                <a:gd name="connsiteX2" fmla="*/ 0 w 2290912"/>
                <a:gd name="connsiteY2" fmla="*/ 257442 h 257442"/>
                <a:gd name="connsiteX3" fmla="*/ 0 w 2290912"/>
                <a:gd name="connsiteY3" fmla="*/ 0 h 257442"/>
                <a:gd name="connsiteX0" fmla="*/ 2569833 w 2569833"/>
                <a:gd name="connsiteY0" fmla="*/ 0 h 257442"/>
                <a:gd name="connsiteX1" fmla="*/ 2236191 w 2569833"/>
                <a:gd name="connsiteY1" fmla="*/ 257442 h 257442"/>
                <a:gd name="connsiteX2" fmla="*/ 0 w 2569833"/>
                <a:gd name="connsiteY2" fmla="*/ 257442 h 257442"/>
                <a:gd name="connsiteX3" fmla="*/ 0 w 2569833"/>
                <a:gd name="connsiteY3" fmla="*/ 0 h 257442"/>
                <a:gd name="connsiteX0" fmla="*/ 2569833 w 2569833"/>
                <a:gd name="connsiteY0" fmla="*/ 0 h 257442"/>
                <a:gd name="connsiteX1" fmla="*/ 2515112 w 2569833"/>
                <a:gd name="connsiteY1" fmla="*/ 257442 h 257442"/>
                <a:gd name="connsiteX2" fmla="*/ 0 w 2569833"/>
                <a:gd name="connsiteY2" fmla="*/ 257442 h 257442"/>
                <a:gd name="connsiteX3" fmla="*/ 0 w 2569833"/>
                <a:gd name="connsiteY3" fmla="*/ 0 h 257442"/>
                <a:gd name="connsiteX0" fmla="*/ 2569834 w 2569834"/>
                <a:gd name="connsiteY0" fmla="*/ 0 h 257442"/>
                <a:gd name="connsiteX1" fmla="*/ 2515113 w 2569834"/>
                <a:gd name="connsiteY1" fmla="*/ 257442 h 257442"/>
                <a:gd name="connsiteX2" fmla="*/ 0 w 2569834"/>
                <a:gd name="connsiteY2" fmla="*/ 257442 h 257442"/>
                <a:gd name="connsiteX3" fmla="*/ 1 w 2569834"/>
                <a:gd name="connsiteY3" fmla="*/ 0 h 257442"/>
                <a:gd name="connsiteX0" fmla="*/ 2569834 w 2569834"/>
                <a:gd name="connsiteY0" fmla="*/ 0 h 257442"/>
                <a:gd name="connsiteX1" fmla="*/ 2515113 w 2569834"/>
                <a:gd name="connsiteY1" fmla="*/ 257442 h 257442"/>
                <a:gd name="connsiteX2" fmla="*/ 0 w 2569834"/>
                <a:gd name="connsiteY2" fmla="*/ 257442 h 257442"/>
                <a:gd name="connsiteX3" fmla="*/ 0 w 2569834"/>
                <a:gd name="connsiteY3" fmla="*/ 0 h 257442"/>
                <a:gd name="connsiteX0" fmla="*/ 2738149 w 2738149"/>
                <a:gd name="connsiteY0" fmla="*/ 0 h 257442"/>
                <a:gd name="connsiteX1" fmla="*/ 2515113 w 2738149"/>
                <a:gd name="connsiteY1" fmla="*/ 257442 h 257442"/>
                <a:gd name="connsiteX2" fmla="*/ 0 w 2738149"/>
                <a:gd name="connsiteY2" fmla="*/ 257442 h 257442"/>
                <a:gd name="connsiteX3" fmla="*/ 0 w 2738149"/>
                <a:gd name="connsiteY3" fmla="*/ 0 h 257442"/>
                <a:gd name="connsiteX0" fmla="*/ 2738149 w 2738149"/>
                <a:gd name="connsiteY0" fmla="*/ 0 h 257442"/>
                <a:gd name="connsiteX1" fmla="*/ 2683428 w 2738149"/>
                <a:gd name="connsiteY1" fmla="*/ 257442 h 257442"/>
                <a:gd name="connsiteX2" fmla="*/ 0 w 2738149"/>
                <a:gd name="connsiteY2" fmla="*/ 257442 h 257442"/>
                <a:gd name="connsiteX3" fmla="*/ 0 w 2738149"/>
                <a:gd name="connsiteY3" fmla="*/ 0 h 257442"/>
                <a:gd name="connsiteX0" fmla="*/ 2738149 w 2738149"/>
                <a:gd name="connsiteY0" fmla="*/ 0 h 257442"/>
                <a:gd name="connsiteX1" fmla="*/ 2683428 w 2738149"/>
                <a:gd name="connsiteY1" fmla="*/ 257442 h 257442"/>
                <a:gd name="connsiteX2" fmla="*/ 0 w 2738149"/>
                <a:gd name="connsiteY2" fmla="*/ 257442 h 257442"/>
                <a:gd name="connsiteX3" fmla="*/ 0 w 2738149"/>
                <a:gd name="connsiteY3" fmla="*/ 0 h 257442"/>
                <a:gd name="connsiteX0" fmla="*/ 2738149 w 2738149"/>
                <a:gd name="connsiteY0" fmla="*/ 0 h 257442"/>
                <a:gd name="connsiteX1" fmla="*/ 2683428 w 2738149"/>
                <a:gd name="connsiteY1" fmla="*/ 257442 h 257442"/>
                <a:gd name="connsiteX2" fmla="*/ 0 w 2738149"/>
                <a:gd name="connsiteY2" fmla="*/ 257442 h 257442"/>
                <a:gd name="connsiteX3" fmla="*/ 0 w 2738149"/>
                <a:gd name="connsiteY3" fmla="*/ 0 h 257442"/>
                <a:gd name="connsiteX0" fmla="*/ 2991423 w 2991423"/>
                <a:gd name="connsiteY0" fmla="*/ 0 h 257442"/>
                <a:gd name="connsiteX1" fmla="*/ 2683428 w 2991423"/>
                <a:gd name="connsiteY1" fmla="*/ 257442 h 257442"/>
                <a:gd name="connsiteX2" fmla="*/ 0 w 2991423"/>
                <a:gd name="connsiteY2" fmla="*/ 257442 h 257442"/>
                <a:gd name="connsiteX3" fmla="*/ 0 w 2991423"/>
                <a:gd name="connsiteY3" fmla="*/ 0 h 257442"/>
                <a:gd name="connsiteX0" fmla="*/ 2991423 w 2991423"/>
                <a:gd name="connsiteY0" fmla="*/ 0 h 257442"/>
                <a:gd name="connsiteX1" fmla="*/ 2936702 w 2991423"/>
                <a:gd name="connsiteY1" fmla="*/ 257442 h 257442"/>
                <a:gd name="connsiteX2" fmla="*/ 0 w 2991423"/>
                <a:gd name="connsiteY2" fmla="*/ 257442 h 257442"/>
                <a:gd name="connsiteX3" fmla="*/ 0 w 2991423"/>
                <a:gd name="connsiteY3" fmla="*/ 0 h 257442"/>
                <a:gd name="connsiteX0" fmla="*/ 2991423 w 2991423"/>
                <a:gd name="connsiteY0" fmla="*/ 0 h 257442"/>
                <a:gd name="connsiteX1" fmla="*/ 2936702 w 2991423"/>
                <a:gd name="connsiteY1" fmla="*/ 257442 h 257442"/>
                <a:gd name="connsiteX2" fmla="*/ 0 w 2991423"/>
                <a:gd name="connsiteY2" fmla="*/ 257442 h 257442"/>
                <a:gd name="connsiteX3" fmla="*/ 0 w 2991423"/>
                <a:gd name="connsiteY3" fmla="*/ 0 h 257442"/>
                <a:gd name="connsiteX0" fmla="*/ 2991423 w 2991423"/>
                <a:gd name="connsiteY0" fmla="*/ 0 h 257442"/>
                <a:gd name="connsiteX1" fmla="*/ 2936702 w 2991423"/>
                <a:gd name="connsiteY1" fmla="*/ 257442 h 257442"/>
                <a:gd name="connsiteX2" fmla="*/ 0 w 2991423"/>
                <a:gd name="connsiteY2" fmla="*/ 257442 h 257442"/>
                <a:gd name="connsiteX3" fmla="*/ 0 w 2991423"/>
                <a:gd name="connsiteY3" fmla="*/ 0 h 257442"/>
                <a:gd name="connsiteX0" fmla="*/ 3159739 w 3159739"/>
                <a:gd name="connsiteY0" fmla="*/ 0 h 257442"/>
                <a:gd name="connsiteX1" fmla="*/ 2936702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159739 w 3159739"/>
                <a:gd name="connsiteY0" fmla="*/ 0 h 257442"/>
                <a:gd name="connsiteX1" fmla="*/ 3105018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159739 w 3159739"/>
                <a:gd name="connsiteY0" fmla="*/ 0 h 257442"/>
                <a:gd name="connsiteX1" fmla="*/ 3105018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159739 w 3159739"/>
                <a:gd name="connsiteY0" fmla="*/ 0 h 257442"/>
                <a:gd name="connsiteX1" fmla="*/ 3105018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320039 w 3320039"/>
                <a:gd name="connsiteY0" fmla="*/ 0 h 257442"/>
                <a:gd name="connsiteX1" fmla="*/ 3105018 w 3320039"/>
                <a:gd name="connsiteY1" fmla="*/ 257442 h 257442"/>
                <a:gd name="connsiteX2" fmla="*/ 0 w 3320039"/>
                <a:gd name="connsiteY2" fmla="*/ 257442 h 257442"/>
                <a:gd name="connsiteX3" fmla="*/ 0 w 3320039"/>
                <a:gd name="connsiteY3" fmla="*/ 0 h 257442"/>
                <a:gd name="connsiteX0" fmla="*/ 3320039 w 3320039"/>
                <a:gd name="connsiteY0" fmla="*/ 0 h 257442"/>
                <a:gd name="connsiteX1" fmla="*/ 3265318 w 3320039"/>
                <a:gd name="connsiteY1" fmla="*/ 257442 h 257442"/>
                <a:gd name="connsiteX2" fmla="*/ 0 w 3320039"/>
                <a:gd name="connsiteY2" fmla="*/ 257442 h 257442"/>
                <a:gd name="connsiteX3" fmla="*/ 0 w 3320039"/>
                <a:gd name="connsiteY3" fmla="*/ 0 h 257442"/>
                <a:gd name="connsiteX0" fmla="*/ 3320039 w 3320039"/>
                <a:gd name="connsiteY0" fmla="*/ 0 h 257442"/>
                <a:gd name="connsiteX1" fmla="*/ 3265318 w 3320039"/>
                <a:gd name="connsiteY1" fmla="*/ 257442 h 257442"/>
                <a:gd name="connsiteX2" fmla="*/ 0 w 3320039"/>
                <a:gd name="connsiteY2" fmla="*/ 257442 h 257442"/>
                <a:gd name="connsiteX3" fmla="*/ 0 w 3320039"/>
                <a:gd name="connsiteY3" fmla="*/ 0 h 257442"/>
                <a:gd name="connsiteX0" fmla="*/ 3320039 w 3320039"/>
                <a:gd name="connsiteY0" fmla="*/ 0 h 257442"/>
                <a:gd name="connsiteX1" fmla="*/ 3265318 w 3320039"/>
                <a:gd name="connsiteY1" fmla="*/ 257442 h 257442"/>
                <a:gd name="connsiteX2" fmla="*/ 0 w 3320039"/>
                <a:gd name="connsiteY2" fmla="*/ 257442 h 257442"/>
                <a:gd name="connsiteX3" fmla="*/ 0 w 332003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0039" h="257442">
                  <a:moveTo>
                    <a:pt x="3320039" y="0"/>
                  </a:moveTo>
                  <a:lnTo>
                    <a:pt x="3265318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>
                <a:solidFill>
                  <a:schemeClr val="tx1"/>
                </a:solidFill>
              </a:endParaRPr>
            </a:p>
          </p:txBody>
        </p:sp>
        <p:sp>
          <p:nvSpPr>
            <p:cNvPr id="16" name="btfpRunningAgenda1LevelTextLeft272891">
              <a:extLst>
                <a:ext uri="{FF2B5EF4-FFF2-40B4-BE49-F238E27FC236}">
                  <a16:creationId xmlns:a16="http://schemas.microsoft.com/office/drawing/2014/main" id="{B93C271F-5553-403D-F0B3-E2E7E72E85B1}"/>
                </a:ext>
              </a:extLst>
            </p:cNvPr>
            <p:cNvSpPr txBox="1"/>
            <p:nvPr/>
          </p:nvSpPr>
          <p:spPr bwMode="gray">
            <a:xfrm>
              <a:off x="0" y="876300"/>
              <a:ext cx="326531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it-IT" sz="1200" b="1" cap="all" spc="450" err="1">
                  <a:solidFill>
                    <a:srgbClr val="FFFFFF"/>
                  </a:solidFill>
                </a:rPr>
                <a:t>UNIVERSITà</a:t>
              </a:r>
              <a:r>
                <a:rPr lang="it-IT" sz="1200" b="1" cap="all" spc="450">
                  <a:solidFill>
                    <a:srgbClr val="FFFFFF"/>
                  </a:solidFill>
                </a:rPr>
                <a:t> ONLINE</a:t>
              </a:r>
            </a:p>
          </p:txBody>
        </p:sp>
      </p:grpSp>
      <p:grpSp>
        <p:nvGrpSpPr>
          <p:cNvPr id="134" name="btfpColumnHeaderBox869311">
            <a:extLst>
              <a:ext uri="{FF2B5EF4-FFF2-40B4-BE49-F238E27FC236}">
                <a16:creationId xmlns:a16="http://schemas.microsoft.com/office/drawing/2014/main" id="{BAB54D9E-2967-27B8-29BD-41B44DDC931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4354248" y="1256688"/>
            <a:ext cx="7502790" cy="811440"/>
            <a:chOff x="4354248" y="764245"/>
            <a:chExt cx="3483505" cy="811440"/>
          </a:xfrm>
        </p:grpSpPr>
        <p:sp>
          <p:nvSpPr>
            <p:cNvPr id="132" name="btfpColumnHeaderBoxText869311">
              <a:extLst>
                <a:ext uri="{FF2B5EF4-FFF2-40B4-BE49-F238E27FC236}">
                  <a16:creationId xmlns:a16="http://schemas.microsoft.com/office/drawing/2014/main" id="{791FEE9B-35F6-DFF3-5273-D7F342E8BB54}"/>
                </a:ext>
              </a:extLst>
            </p:cNvPr>
            <p:cNvSpPr txBox="1"/>
            <p:nvPr/>
          </p:nvSpPr>
          <p:spPr bwMode="gray">
            <a:xfrm>
              <a:off x="4354248" y="764245"/>
              <a:ext cx="3483504" cy="80359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it-IT" sz="1600" b="1">
                  <a:solidFill>
                    <a:srgbClr val="000000"/>
                  </a:solidFill>
                </a:rPr>
                <a:t>…Per colmare la lacuna strutturale delle università tradizionali, il governo italiano ha promosso la creazione di università telematiche tra il 2003 e il 2006</a:t>
              </a:r>
              <a:r>
                <a:rPr lang="it-IT" b="1">
                  <a:solidFill>
                    <a:srgbClr val="000000"/>
                  </a:solidFill>
                </a:rPr>
                <a:t>, che presentano i seguenti vantaggi</a:t>
              </a:r>
              <a:endParaRPr lang="it-IT" sz="1600" b="1">
                <a:solidFill>
                  <a:srgbClr val="000000"/>
                </a:solidFill>
              </a:endParaRPr>
            </a:p>
          </p:txBody>
        </p:sp>
        <p:cxnSp>
          <p:nvCxnSpPr>
            <p:cNvPr id="133" name="btfpColumnHeaderBoxLine869311">
              <a:extLst>
                <a:ext uri="{FF2B5EF4-FFF2-40B4-BE49-F238E27FC236}">
                  <a16:creationId xmlns:a16="http://schemas.microsoft.com/office/drawing/2014/main" id="{A440D5AE-1F70-FCB8-7CC8-A1E4209930BF}"/>
                </a:ext>
              </a:extLst>
            </p:cNvPr>
            <p:cNvCxnSpPr/>
            <p:nvPr/>
          </p:nvCxnSpPr>
          <p:spPr bwMode="gray">
            <a:xfrm>
              <a:off x="4354248" y="1575685"/>
              <a:ext cx="348350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8" name="btfpColumnHeaderBox983788">
            <a:extLst>
              <a:ext uri="{FF2B5EF4-FFF2-40B4-BE49-F238E27FC236}">
                <a16:creationId xmlns:a16="http://schemas.microsoft.com/office/drawing/2014/main" id="{3C5024E8-EE86-4B2F-2496-07F2E77B6985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30200" y="1270000"/>
            <a:ext cx="3483504" cy="811440"/>
            <a:chOff x="330200" y="760184"/>
            <a:chExt cx="3483504" cy="811440"/>
          </a:xfrm>
        </p:grpSpPr>
        <p:sp>
          <p:nvSpPr>
            <p:cNvPr id="136" name="btfpColumnHeaderBoxText983788">
              <a:extLst>
                <a:ext uri="{FF2B5EF4-FFF2-40B4-BE49-F238E27FC236}">
                  <a16:creationId xmlns:a16="http://schemas.microsoft.com/office/drawing/2014/main" id="{D1225E7E-52C2-62A7-0532-2FDACFD6D19B}"/>
                </a:ext>
              </a:extLst>
            </p:cNvPr>
            <p:cNvSpPr txBox="1"/>
            <p:nvPr/>
          </p:nvSpPr>
          <p:spPr bwMode="gray">
            <a:xfrm>
              <a:off x="330200" y="760184"/>
              <a:ext cx="3483504" cy="803592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it-IT" sz="1600" b="1" dirty="0">
                  <a:solidFill>
                    <a:srgbClr val="000000"/>
                  </a:solidFill>
                </a:rPr>
                <a:t>Il sistema universitario tradizionale italiano presenta chiare lacune strutturali…</a:t>
              </a:r>
            </a:p>
          </p:txBody>
        </p:sp>
        <p:cxnSp>
          <p:nvCxnSpPr>
            <p:cNvPr id="137" name="btfpColumnHeaderBoxLine983788">
              <a:extLst>
                <a:ext uri="{FF2B5EF4-FFF2-40B4-BE49-F238E27FC236}">
                  <a16:creationId xmlns:a16="http://schemas.microsoft.com/office/drawing/2014/main" id="{4456BE45-E8B1-F819-8898-25D05B335FB4}"/>
                </a:ext>
              </a:extLst>
            </p:cNvPr>
            <p:cNvCxnSpPr/>
            <p:nvPr/>
          </p:nvCxnSpPr>
          <p:spPr bwMode="gray">
            <a:xfrm>
              <a:off x="330200" y="1571624"/>
              <a:ext cx="3483504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5" name="Rectangle 184">
            <a:extLst>
              <a:ext uri="{FF2B5EF4-FFF2-40B4-BE49-F238E27FC236}">
                <a16:creationId xmlns:a16="http://schemas.microsoft.com/office/drawing/2014/main" id="{47A5279F-00C4-2D70-2191-CB77204AE9B7}"/>
              </a:ext>
            </a:extLst>
          </p:cNvPr>
          <p:cNvSpPr/>
          <p:nvPr/>
        </p:nvSpPr>
        <p:spPr bwMode="gray">
          <a:xfrm>
            <a:off x="1356961" y="2249407"/>
            <a:ext cx="2456743" cy="117801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it-IT" sz="1100" b="1" dirty="0">
                <a:solidFill>
                  <a:schemeClr val="tx1"/>
                </a:solidFill>
              </a:rPr>
              <a:t>Disparità geografica </a:t>
            </a:r>
            <a:r>
              <a:rPr lang="it-IT" sz="1100" dirty="0">
                <a:solidFill>
                  <a:schemeClr val="tx1"/>
                </a:solidFill>
              </a:rPr>
              <a:t>strutturale</a:t>
            </a:r>
            <a:r>
              <a:rPr lang="it-IT" sz="1100" b="1" dirty="0">
                <a:solidFill>
                  <a:schemeClr val="tx1"/>
                </a:solidFill>
              </a:rPr>
              <a:t> </a:t>
            </a:r>
            <a:r>
              <a:rPr lang="it-IT" sz="1100" dirty="0">
                <a:solidFill>
                  <a:schemeClr val="tx1"/>
                </a:solidFill>
              </a:rPr>
              <a:t>tra le </a:t>
            </a:r>
            <a:r>
              <a:rPr lang="it-IT" sz="1100" b="1" dirty="0">
                <a:solidFill>
                  <a:schemeClr val="tx1"/>
                </a:solidFill>
              </a:rPr>
              <a:t>università</a:t>
            </a:r>
            <a:r>
              <a:rPr lang="it-IT" sz="1100" dirty="0">
                <a:solidFill>
                  <a:schemeClr val="tx1"/>
                </a:solidFill>
              </a:rPr>
              <a:t> </a:t>
            </a:r>
            <a:r>
              <a:rPr lang="it-IT" sz="1100" b="1" dirty="0">
                <a:solidFill>
                  <a:schemeClr val="tx1"/>
                </a:solidFill>
              </a:rPr>
              <a:t>tradizionali</a:t>
            </a:r>
            <a:r>
              <a:rPr lang="it-IT" sz="1100" dirty="0">
                <a:solidFill>
                  <a:schemeClr val="tx1"/>
                </a:solidFill>
              </a:rPr>
              <a:t> e la </a:t>
            </a:r>
            <a:r>
              <a:rPr lang="it-IT" sz="1100" b="1" dirty="0">
                <a:solidFill>
                  <a:schemeClr val="tx1"/>
                </a:solidFill>
              </a:rPr>
              <a:t>popolazione</a:t>
            </a:r>
            <a:r>
              <a:rPr lang="it-IT" sz="1100" dirty="0">
                <a:solidFill>
                  <a:schemeClr val="tx1"/>
                </a:solidFill>
              </a:rPr>
              <a:t> / </a:t>
            </a:r>
            <a:r>
              <a:rPr lang="it-IT" sz="1100" b="1" dirty="0">
                <a:solidFill>
                  <a:schemeClr val="tx1"/>
                </a:solidFill>
              </a:rPr>
              <a:t>datori di lavoro</a:t>
            </a:r>
            <a:r>
              <a:rPr lang="it-IT" sz="1100" dirty="0">
                <a:solidFill>
                  <a:schemeClr val="tx1"/>
                </a:solidFill>
              </a:rPr>
              <a:t>, con le regioni del Sud particolarmente colpite</a:t>
            </a: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DD20E6F7-81D0-D864-F2F8-591C8607E380}"/>
              </a:ext>
            </a:extLst>
          </p:cNvPr>
          <p:cNvSpPr/>
          <p:nvPr/>
        </p:nvSpPr>
        <p:spPr bwMode="gray">
          <a:xfrm>
            <a:off x="1356961" y="3623949"/>
            <a:ext cx="2456743" cy="117801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it-IT" sz="1100" b="1" dirty="0">
                <a:solidFill>
                  <a:schemeClr val="tx1"/>
                </a:solidFill>
              </a:rPr>
              <a:t>Carenze</a:t>
            </a:r>
            <a:r>
              <a:rPr lang="it-IT" sz="1100" dirty="0">
                <a:solidFill>
                  <a:schemeClr val="tx1"/>
                </a:solidFill>
              </a:rPr>
              <a:t> in termini di </a:t>
            </a:r>
            <a:r>
              <a:rPr lang="it-IT" sz="1100" b="1" dirty="0">
                <a:solidFill>
                  <a:schemeClr val="tx1"/>
                </a:solidFill>
              </a:rPr>
              <a:t>finanziamenti</a:t>
            </a:r>
            <a:r>
              <a:rPr lang="it-IT" sz="1100" dirty="0">
                <a:solidFill>
                  <a:schemeClr val="tx1"/>
                </a:solidFill>
              </a:rPr>
              <a:t>, in calo storico e bassi rispetto ai paesi similari, e </a:t>
            </a:r>
            <a:r>
              <a:rPr lang="it-IT" sz="1100" b="1" dirty="0">
                <a:solidFill>
                  <a:schemeClr val="tx1"/>
                </a:solidFill>
              </a:rPr>
              <a:t>agilità innovativa</a:t>
            </a:r>
            <a:r>
              <a:rPr lang="it-IT" sz="1100" dirty="0">
                <a:solidFill>
                  <a:schemeClr val="tx1"/>
                </a:solidFill>
              </a:rPr>
              <a:t>, a causa della frammentazione decisionale e burocrazia</a:t>
            </a: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762050C7-BCD3-6423-BE25-F38F0B06576D}"/>
              </a:ext>
            </a:extLst>
          </p:cNvPr>
          <p:cNvSpPr/>
          <p:nvPr/>
        </p:nvSpPr>
        <p:spPr bwMode="gray">
          <a:xfrm>
            <a:off x="1356961" y="4998489"/>
            <a:ext cx="2456743" cy="117801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it-IT" sz="1100" b="1">
                <a:solidFill>
                  <a:schemeClr val="tx1"/>
                </a:solidFill>
              </a:rPr>
              <a:t>Approccio</a:t>
            </a:r>
            <a:r>
              <a:rPr lang="it-IT" sz="1100">
                <a:solidFill>
                  <a:schemeClr val="tx1"/>
                </a:solidFill>
              </a:rPr>
              <a:t> </a:t>
            </a:r>
            <a:r>
              <a:rPr lang="it-IT" sz="1100" b="1">
                <a:solidFill>
                  <a:schemeClr val="tx1"/>
                </a:solidFill>
              </a:rPr>
              <a:t>teorico</a:t>
            </a:r>
            <a:r>
              <a:rPr lang="it-IT" sz="1100">
                <a:solidFill>
                  <a:schemeClr val="tx1"/>
                </a:solidFill>
              </a:rPr>
              <a:t> e </a:t>
            </a:r>
            <a:r>
              <a:rPr lang="it-IT" sz="1100" b="1">
                <a:solidFill>
                  <a:schemeClr val="tx1"/>
                </a:solidFill>
              </a:rPr>
              <a:t>datato</a:t>
            </a:r>
            <a:r>
              <a:rPr lang="it-IT" sz="1100">
                <a:solidFill>
                  <a:schemeClr val="tx1"/>
                </a:solidFill>
              </a:rPr>
              <a:t>, insegnamento rigido e </a:t>
            </a:r>
            <a:r>
              <a:rPr lang="it-IT" sz="1100" b="1">
                <a:solidFill>
                  <a:schemeClr val="tx1"/>
                </a:solidFill>
              </a:rPr>
              <a:t>poco pratico </a:t>
            </a:r>
            <a:r>
              <a:rPr lang="it-IT" sz="1100">
                <a:solidFill>
                  <a:schemeClr val="tx1"/>
                </a:solidFill>
              </a:rPr>
              <a:t>limitano l’attrattività per gli studenti e portano a </a:t>
            </a:r>
            <a:r>
              <a:rPr lang="it-IT" sz="1100" b="1">
                <a:solidFill>
                  <a:schemeClr val="tx1"/>
                </a:solidFill>
              </a:rPr>
              <a:t>bassi tassi di completamento </a:t>
            </a:r>
            <a:r>
              <a:rPr lang="it-IT" sz="1100">
                <a:solidFill>
                  <a:schemeClr val="tx1"/>
                </a:solidFill>
              </a:rPr>
              <a:t>universitario e </a:t>
            </a:r>
            <a:r>
              <a:rPr lang="it-IT" sz="1100" b="1">
                <a:solidFill>
                  <a:schemeClr val="tx1"/>
                </a:solidFill>
              </a:rPr>
              <a:t>lunghi tempi di laurea</a:t>
            </a:r>
          </a:p>
        </p:txBody>
      </p:sp>
      <p:grpSp>
        <p:nvGrpSpPr>
          <p:cNvPr id="188" name="btfpIcon483560">
            <a:extLst>
              <a:ext uri="{FF2B5EF4-FFF2-40B4-BE49-F238E27FC236}">
                <a16:creationId xmlns:a16="http://schemas.microsoft.com/office/drawing/2014/main" id="{294F5A78-6FA3-929A-EA73-88F2E3BF4EFF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334963" y="2425222"/>
            <a:ext cx="826388" cy="826388"/>
            <a:chOff x="330200" y="5833244"/>
            <a:chExt cx="1081088" cy="1081088"/>
          </a:xfrm>
        </p:grpSpPr>
        <p:sp>
          <p:nvSpPr>
            <p:cNvPr id="189" name="btfpIconCircle483560">
              <a:extLst>
                <a:ext uri="{FF2B5EF4-FFF2-40B4-BE49-F238E27FC236}">
                  <a16:creationId xmlns:a16="http://schemas.microsoft.com/office/drawing/2014/main" id="{770C7F40-56F4-3EB5-1711-22B5480CE859}"/>
                </a:ext>
              </a:extLst>
            </p:cNvPr>
            <p:cNvSpPr>
              <a:spLocks/>
            </p:cNvSpPr>
            <p:nvPr/>
          </p:nvSpPr>
          <p:spPr bwMode="gray">
            <a:xfrm>
              <a:off x="330200" y="5833244"/>
              <a:ext cx="1081088" cy="108108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err="1">
                <a:solidFill>
                  <a:schemeClr val="tx1"/>
                </a:solidFill>
              </a:endParaRPr>
            </a:p>
          </p:txBody>
        </p:sp>
        <p:pic>
          <p:nvPicPr>
            <p:cNvPr id="190" name="btfpIconLines483560">
              <a:extLst>
                <a:ext uri="{FF2B5EF4-FFF2-40B4-BE49-F238E27FC236}">
                  <a16:creationId xmlns:a16="http://schemas.microsoft.com/office/drawing/2014/main" id="{7AC2C399-000B-A46D-FC56-E3032B66D343}"/>
                </a:ext>
              </a:extLst>
            </p:cNvPr>
            <p:cNvPicPr>
              <a:picLocks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0200" y="5833244"/>
              <a:ext cx="1081088" cy="1081088"/>
            </a:xfrm>
            <a:prstGeom prst="rect">
              <a:avLst/>
            </a:prstGeom>
          </p:spPr>
        </p:pic>
      </p:grpSp>
      <p:grpSp>
        <p:nvGrpSpPr>
          <p:cNvPr id="194" name="btfpIcon132228">
            <a:extLst>
              <a:ext uri="{FF2B5EF4-FFF2-40B4-BE49-F238E27FC236}">
                <a16:creationId xmlns:a16="http://schemas.microsoft.com/office/drawing/2014/main" id="{628A23EF-573A-F0DF-FAB3-B02F257B10F9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334963" y="5174304"/>
            <a:ext cx="826388" cy="826388"/>
            <a:chOff x="65506" y="2764966"/>
            <a:chExt cx="1081088" cy="1081088"/>
          </a:xfrm>
        </p:grpSpPr>
        <p:sp>
          <p:nvSpPr>
            <p:cNvPr id="195" name="btfpIconCircle132228">
              <a:extLst>
                <a:ext uri="{FF2B5EF4-FFF2-40B4-BE49-F238E27FC236}">
                  <a16:creationId xmlns:a16="http://schemas.microsoft.com/office/drawing/2014/main" id="{E4879E8C-78DD-F7DB-DDD1-AA33B2743C09}"/>
                </a:ext>
              </a:extLst>
            </p:cNvPr>
            <p:cNvSpPr>
              <a:spLocks/>
            </p:cNvSpPr>
            <p:nvPr/>
          </p:nvSpPr>
          <p:spPr bwMode="gray">
            <a:xfrm>
              <a:off x="65506" y="2764966"/>
              <a:ext cx="1081088" cy="108108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err="1">
                <a:solidFill>
                  <a:schemeClr val="tx1"/>
                </a:solidFill>
              </a:endParaRPr>
            </a:p>
          </p:txBody>
        </p:sp>
        <p:pic>
          <p:nvPicPr>
            <p:cNvPr id="196" name="btfpIconLines132228">
              <a:extLst>
                <a:ext uri="{FF2B5EF4-FFF2-40B4-BE49-F238E27FC236}">
                  <a16:creationId xmlns:a16="http://schemas.microsoft.com/office/drawing/2014/main" id="{5AD5618A-4BB3-A97E-7366-C3F5034AE599}"/>
                </a:ext>
              </a:extLst>
            </p:cNvPr>
            <p:cNvPicPr>
              <a:picLocks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506" y="2764966"/>
              <a:ext cx="1081088" cy="1081088"/>
            </a:xfrm>
            <a:prstGeom prst="rect">
              <a:avLst/>
            </a:prstGeom>
          </p:spPr>
        </p:pic>
      </p:grpSp>
      <p:sp>
        <p:nvSpPr>
          <p:cNvPr id="197" name="btfpBulletedList667492">
            <a:extLst>
              <a:ext uri="{FF2B5EF4-FFF2-40B4-BE49-F238E27FC236}">
                <a16:creationId xmlns:a16="http://schemas.microsoft.com/office/drawing/2014/main" id="{67A57C75-E22F-65A1-3F3C-22F29E6674B3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4375494" y="2749813"/>
            <a:ext cx="1254000" cy="58053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 algn="ctr">
              <a:spcBef>
                <a:spcPts val="900"/>
              </a:spcBef>
              <a:buNone/>
            </a:pPr>
            <a:r>
              <a:rPr lang="it-IT" sz="1100" b="1"/>
              <a:t>Valore legale </a:t>
            </a:r>
            <a:r>
              <a:rPr lang="it-IT" sz="1100"/>
              <a:t>della laurea mantenuto</a:t>
            </a:r>
          </a:p>
        </p:txBody>
      </p:sp>
      <p:pic>
        <p:nvPicPr>
          <p:cNvPr id="198" name="Picture 197">
            <a:extLst>
              <a:ext uri="{FF2B5EF4-FFF2-40B4-BE49-F238E27FC236}">
                <a16:creationId xmlns:a16="http://schemas.microsoft.com/office/drawing/2014/main" id="{CB2EFC67-6D95-92BC-B30A-8928BAB0FE7E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863972" y="2231220"/>
            <a:ext cx="482867" cy="477439"/>
          </a:xfrm>
          <a:prstGeom prst="rect">
            <a:avLst/>
          </a:prstGeom>
        </p:spPr>
      </p:pic>
      <p:pic>
        <p:nvPicPr>
          <p:cNvPr id="200" name="Picture 199">
            <a:extLst>
              <a:ext uri="{FF2B5EF4-FFF2-40B4-BE49-F238E27FC236}">
                <a16:creationId xmlns:a16="http://schemas.microsoft.com/office/drawing/2014/main" id="{42B703DD-2E54-28E1-4E28-E0BC3BDF5AE3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4760685" y="2204752"/>
            <a:ext cx="530375" cy="530375"/>
          </a:xfrm>
          <a:prstGeom prst="rect">
            <a:avLst/>
          </a:prstGeom>
        </p:spPr>
      </p:pic>
      <p:pic>
        <p:nvPicPr>
          <p:cNvPr id="201" name="Picture 200">
            <a:extLst>
              <a:ext uri="{FF2B5EF4-FFF2-40B4-BE49-F238E27FC236}">
                <a16:creationId xmlns:a16="http://schemas.microsoft.com/office/drawing/2014/main" id="{333A6366-C51F-C87E-2CE5-B37C5A60D435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760210" y="2152634"/>
            <a:ext cx="634612" cy="634612"/>
          </a:xfrm>
          <a:prstGeom prst="rect">
            <a:avLst/>
          </a:prstGeom>
        </p:spPr>
      </p:pic>
      <p:pic>
        <p:nvPicPr>
          <p:cNvPr id="202" name="Picture 201">
            <a:extLst>
              <a:ext uri="{FF2B5EF4-FFF2-40B4-BE49-F238E27FC236}">
                <a16:creationId xmlns:a16="http://schemas.microsoft.com/office/drawing/2014/main" id="{5C560ECE-7E11-F27B-B9D6-8AF042C5ACBD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0815989" y="2152634"/>
            <a:ext cx="634612" cy="634612"/>
          </a:xfrm>
          <a:prstGeom prst="rect">
            <a:avLst/>
          </a:prstGeom>
        </p:spPr>
      </p:pic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45B1200C-DA6E-1275-8503-AF479F97407B}"/>
              </a:ext>
            </a:extLst>
          </p:cNvPr>
          <p:cNvCxnSpPr>
            <a:cxnSpLocks/>
          </p:cNvCxnSpPr>
          <p:nvPr/>
        </p:nvCxnSpPr>
        <p:spPr bwMode="gray">
          <a:xfrm>
            <a:off x="383909" y="3525687"/>
            <a:ext cx="3353014" cy="0"/>
          </a:xfrm>
          <a:prstGeom prst="line">
            <a:avLst/>
          </a:prstGeom>
          <a:ln w="9525" cap="flat" cmpd="sng" algn="ctr">
            <a:solidFill>
              <a:srgbClr val="B4B4B4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676FB995-6062-0ECE-9DBA-7C2FA27F81C8}"/>
              </a:ext>
            </a:extLst>
          </p:cNvPr>
          <p:cNvCxnSpPr>
            <a:cxnSpLocks/>
          </p:cNvCxnSpPr>
          <p:nvPr/>
        </p:nvCxnSpPr>
        <p:spPr bwMode="gray">
          <a:xfrm>
            <a:off x="383909" y="4900228"/>
            <a:ext cx="3353014" cy="0"/>
          </a:xfrm>
          <a:prstGeom prst="line">
            <a:avLst/>
          </a:prstGeom>
          <a:ln w="9525" cap="flat" cmpd="sng" algn="ctr">
            <a:solidFill>
              <a:srgbClr val="B4B4B4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FD5DA400-E83D-9082-23A7-8B543DDAA3CA}"/>
              </a:ext>
            </a:extLst>
          </p:cNvPr>
          <p:cNvCxnSpPr>
            <a:cxnSpLocks/>
          </p:cNvCxnSpPr>
          <p:nvPr/>
        </p:nvCxnSpPr>
        <p:spPr bwMode="gray">
          <a:xfrm>
            <a:off x="4354247" y="3525687"/>
            <a:ext cx="7502790" cy="0"/>
          </a:xfrm>
          <a:prstGeom prst="line">
            <a:avLst/>
          </a:prstGeom>
          <a:ln w="9525" cap="flat" cmpd="sng" algn="ctr">
            <a:solidFill>
              <a:srgbClr val="B4B4B4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5F90D27A-790E-EE4F-D02C-F63743AC3849}"/>
              </a:ext>
            </a:extLst>
          </p:cNvPr>
          <p:cNvCxnSpPr>
            <a:cxnSpLocks/>
          </p:cNvCxnSpPr>
          <p:nvPr/>
        </p:nvCxnSpPr>
        <p:spPr bwMode="gray">
          <a:xfrm>
            <a:off x="4354247" y="4900228"/>
            <a:ext cx="7502790" cy="0"/>
          </a:xfrm>
          <a:prstGeom prst="line">
            <a:avLst/>
          </a:prstGeom>
          <a:ln w="9525" cap="flat" cmpd="sng" algn="ctr">
            <a:solidFill>
              <a:srgbClr val="B4B4B4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btfpBulletedList667492">
            <a:extLst>
              <a:ext uri="{FF2B5EF4-FFF2-40B4-BE49-F238E27FC236}">
                <a16:creationId xmlns:a16="http://schemas.microsoft.com/office/drawing/2014/main" id="{688CFC9D-1664-87E7-415C-F838B7A569A8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6356796" y="2749813"/>
            <a:ext cx="1441440" cy="91908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 algn="ctr">
              <a:spcBef>
                <a:spcPts val="900"/>
              </a:spcBef>
              <a:buNone/>
            </a:pPr>
            <a:r>
              <a:rPr lang="it-IT" sz="1100"/>
              <a:t>Copertura del </a:t>
            </a:r>
            <a:r>
              <a:rPr lang="it-IT" sz="1100" b="1"/>
              <a:t>~97% della popolazione italiana</a:t>
            </a:r>
            <a:r>
              <a:rPr lang="it-IT" sz="1100"/>
              <a:t>, incluso il Sud</a:t>
            </a:r>
          </a:p>
        </p:txBody>
      </p:sp>
      <p:sp>
        <p:nvSpPr>
          <p:cNvPr id="235" name="btfpBulletedList667492">
            <a:extLst>
              <a:ext uri="{FF2B5EF4-FFF2-40B4-BE49-F238E27FC236}">
                <a16:creationId xmlns:a16="http://schemas.microsoft.com/office/drawing/2014/main" id="{65622DA9-D941-EF72-2068-7E29E798C81F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8431818" y="2749813"/>
            <a:ext cx="1441440" cy="411257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 algn="ctr">
              <a:spcBef>
                <a:spcPts val="900"/>
              </a:spcBef>
              <a:buNone/>
            </a:pPr>
            <a:r>
              <a:rPr lang="it-IT" sz="1100" b="1"/>
              <a:t>Centri d’esame capillari</a:t>
            </a:r>
          </a:p>
        </p:txBody>
      </p:sp>
      <p:sp>
        <p:nvSpPr>
          <p:cNvPr id="239" name="btfpBulletedList667492">
            <a:extLst>
              <a:ext uri="{FF2B5EF4-FFF2-40B4-BE49-F238E27FC236}">
                <a16:creationId xmlns:a16="http://schemas.microsoft.com/office/drawing/2014/main" id="{5D993963-472D-6948-D44C-1507919CF8DE}"/>
              </a:ext>
            </a:extLst>
          </p:cNvPr>
          <p:cNvSpPr txBox="1"/>
          <p:nvPr>
            <p:custDataLst>
              <p:tags r:id="rId12"/>
            </p:custDataLst>
          </p:nvPr>
        </p:nvSpPr>
        <p:spPr bwMode="gray">
          <a:xfrm>
            <a:off x="10394373" y="2749813"/>
            <a:ext cx="1441440" cy="58053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 algn="ctr">
              <a:spcBef>
                <a:spcPts val="900"/>
              </a:spcBef>
              <a:buNone/>
            </a:pPr>
            <a:r>
              <a:rPr lang="it-IT" sz="1100" b="1"/>
              <a:t>Materiali didattici online </a:t>
            </a:r>
            <a:r>
              <a:rPr lang="it-IT" sz="1100"/>
              <a:t>senza necessità di viaggiare</a:t>
            </a:r>
          </a:p>
        </p:txBody>
      </p:sp>
      <p:pic>
        <p:nvPicPr>
          <p:cNvPr id="240" name="Picture 239">
            <a:extLst>
              <a:ext uri="{FF2B5EF4-FFF2-40B4-BE49-F238E27FC236}">
                <a16:creationId xmlns:a16="http://schemas.microsoft.com/office/drawing/2014/main" id="{6C788DBF-47E7-C50F-02CB-72C29D0D6F07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5678372" y="3607898"/>
            <a:ext cx="498026" cy="498026"/>
          </a:xfrm>
          <a:prstGeom prst="rect">
            <a:avLst/>
          </a:prstGeom>
        </p:spPr>
      </p:pic>
      <p:pic>
        <p:nvPicPr>
          <p:cNvPr id="241" name="Picture 240">
            <a:extLst>
              <a:ext uri="{FF2B5EF4-FFF2-40B4-BE49-F238E27FC236}">
                <a16:creationId xmlns:a16="http://schemas.microsoft.com/office/drawing/2014/main" id="{7FAE6A22-90EB-DB28-1781-2CDFD24285EA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9561309" y="3573094"/>
            <a:ext cx="546475" cy="546475"/>
          </a:xfrm>
          <a:prstGeom prst="rect">
            <a:avLst/>
          </a:prstGeom>
        </p:spPr>
      </p:pic>
      <p:sp>
        <p:nvSpPr>
          <p:cNvPr id="245" name="btfpBulletedList667492">
            <a:extLst>
              <a:ext uri="{FF2B5EF4-FFF2-40B4-BE49-F238E27FC236}">
                <a16:creationId xmlns:a16="http://schemas.microsoft.com/office/drawing/2014/main" id="{16DFD00B-FCE5-11B3-84F6-E315372B1F3A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gray">
          <a:xfrm>
            <a:off x="5206665" y="4066583"/>
            <a:ext cx="1441440" cy="749812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 algn="ctr">
              <a:spcBef>
                <a:spcPts val="900"/>
              </a:spcBef>
              <a:buNone/>
            </a:pPr>
            <a:r>
              <a:rPr lang="it-IT" sz="1100"/>
              <a:t>Aziende private con </a:t>
            </a:r>
            <a:r>
              <a:rPr lang="it-IT" sz="1100" b="1"/>
              <a:t>maggiore potere di investimento</a:t>
            </a:r>
          </a:p>
        </p:txBody>
      </p:sp>
      <p:sp>
        <p:nvSpPr>
          <p:cNvPr id="246" name="btfpBulletedList667492">
            <a:extLst>
              <a:ext uri="{FF2B5EF4-FFF2-40B4-BE49-F238E27FC236}">
                <a16:creationId xmlns:a16="http://schemas.microsoft.com/office/drawing/2014/main" id="{E44096EB-5A89-2A28-17F0-F08391AFC68E}"/>
              </a:ext>
            </a:extLst>
          </p:cNvPr>
          <p:cNvSpPr txBox="1"/>
          <p:nvPr>
            <p:custDataLst>
              <p:tags r:id="rId14"/>
            </p:custDataLst>
          </p:nvPr>
        </p:nvSpPr>
        <p:spPr bwMode="gray">
          <a:xfrm>
            <a:off x="8980994" y="4066583"/>
            <a:ext cx="1707105" cy="58053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 algn="ctr">
              <a:spcBef>
                <a:spcPts val="900"/>
              </a:spcBef>
              <a:buNone/>
            </a:pPr>
            <a:r>
              <a:rPr lang="it-IT" sz="1100" b="1"/>
              <a:t>Strutture snelle </a:t>
            </a:r>
            <a:r>
              <a:rPr lang="it-IT" sz="1100"/>
              <a:t>e </a:t>
            </a:r>
            <a:r>
              <a:rPr lang="it-IT" sz="1100" b="1"/>
              <a:t>flessibili</a:t>
            </a:r>
            <a:r>
              <a:rPr lang="it-IT" sz="1100"/>
              <a:t> per far fronte a un sistema educativo sempre più innovativo</a:t>
            </a:r>
          </a:p>
        </p:txBody>
      </p:sp>
      <p:sp>
        <p:nvSpPr>
          <p:cNvPr id="247" name="btfpBulletedList667492">
            <a:extLst>
              <a:ext uri="{FF2B5EF4-FFF2-40B4-BE49-F238E27FC236}">
                <a16:creationId xmlns:a16="http://schemas.microsoft.com/office/drawing/2014/main" id="{17CABCD4-7CAE-1F26-6F21-7AC0CA2FDE47}"/>
              </a:ext>
            </a:extLst>
          </p:cNvPr>
          <p:cNvSpPr txBox="1"/>
          <p:nvPr>
            <p:custDataLst>
              <p:tags r:id="rId15"/>
            </p:custDataLst>
          </p:nvPr>
        </p:nvSpPr>
        <p:spPr bwMode="gray">
          <a:xfrm>
            <a:off x="8980994" y="5495078"/>
            <a:ext cx="1707105" cy="24198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 algn="ctr">
              <a:spcBef>
                <a:spcPts val="900"/>
              </a:spcBef>
              <a:buNone/>
            </a:pPr>
            <a:r>
              <a:rPr lang="it-IT" sz="1100" b="1"/>
              <a:t>Molteplici sessioni d’esame</a:t>
            </a:r>
          </a:p>
        </p:txBody>
      </p:sp>
      <p:pic>
        <p:nvPicPr>
          <p:cNvPr id="248" name="Picture 247">
            <a:extLst>
              <a:ext uri="{FF2B5EF4-FFF2-40B4-BE49-F238E27FC236}">
                <a16:creationId xmlns:a16="http://schemas.microsoft.com/office/drawing/2014/main" id="{43982340-E00E-D2A5-7C1B-9548362F60A3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5622034" y="4988136"/>
            <a:ext cx="610702" cy="610702"/>
          </a:xfrm>
          <a:prstGeom prst="rect">
            <a:avLst/>
          </a:prstGeom>
        </p:spPr>
      </p:pic>
      <p:pic>
        <p:nvPicPr>
          <p:cNvPr id="249" name="Picture 248">
            <a:extLst>
              <a:ext uri="{FF2B5EF4-FFF2-40B4-BE49-F238E27FC236}">
                <a16:creationId xmlns:a16="http://schemas.microsoft.com/office/drawing/2014/main" id="{F2C608B6-695E-6C28-1DCA-E1FDF6429BA2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9569117" y="5000884"/>
            <a:ext cx="530856" cy="530856"/>
          </a:xfrm>
          <a:prstGeom prst="rect">
            <a:avLst/>
          </a:prstGeom>
        </p:spPr>
      </p:pic>
      <p:sp>
        <p:nvSpPr>
          <p:cNvPr id="252" name="btfpBulletedList667492">
            <a:extLst>
              <a:ext uri="{FF2B5EF4-FFF2-40B4-BE49-F238E27FC236}">
                <a16:creationId xmlns:a16="http://schemas.microsoft.com/office/drawing/2014/main" id="{52C6DB02-1A52-7606-3C0D-ACE87F46BA5B}"/>
              </a:ext>
            </a:extLst>
          </p:cNvPr>
          <p:cNvSpPr txBox="1"/>
          <p:nvPr>
            <p:custDataLst>
              <p:tags r:id="rId16"/>
            </p:custDataLst>
          </p:nvPr>
        </p:nvSpPr>
        <p:spPr bwMode="gray">
          <a:xfrm>
            <a:off x="5206665" y="5541266"/>
            <a:ext cx="1441440" cy="749812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 algn="ctr">
              <a:spcBef>
                <a:spcPts val="900"/>
              </a:spcBef>
              <a:buNone/>
            </a:pPr>
            <a:r>
              <a:rPr lang="it-IT" sz="1100" b="1"/>
              <a:t>Orario flessibile </a:t>
            </a:r>
            <a:r>
              <a:rPr lang="it-IT" sz="1100"/>
              <a:t>e </a:t>
            </a:r>
            <a:r>
              <a:rPr lang="it-IT" sz="1100" b="1"/>
              <a:t>lezioni video-registrate </a:t>
            </a:r>
            <a:r>
              <a:rPr lang="it-IT" sz="1100"/>
              <a:t>senza necessità di spostarsi</a:t>
            </a:r>
          </a:p>
        </p:txBody>
      </p:sp>
      <p:grpSp>
        <p:nvGrpSpPr>
          <p:cNvPr id="267" name="btfpIcon957901">
            <a:extLst>
              <a:ext uri="{FF2B5EF4-FFF2-40B4-BE49-F238E27FC236}">
                <a16:creationId xmlns:a16="http://schemas.microsoft.com/office/drawing/2014/main" id="{DA64D18A-8B70-B665-4107-40E5E9A1B005}"/>
              </a:ext>
            </a:extLst>
          </p:cNvPr>
          <p:cNvGrpSpPr>
            <a:grpSpLocks noChangeAspect="1"/>
          </p:cNvGrpSpPr>
          <p:nvPr>
            <p:custDataLst>
              <p:tags r:id="rId17"/>
            </p:custDataLst>
          </p:nvPr>
        </p:nvGrpSpPr>
        <p:grpSpPr>
          <a:xfrm>
            <a:off x="334963" y="3799764"/>
            <a:ext cx="826388" cy="826387"/>
            <a:chOff x="8378296" y="5826930"/>
            <a:chExt cx="1081089" cy="1081088"/>
          </a:xfrm>
        </p:grpSpPr>
        <p:sp>
          <p:nvSpPr>
            <p:cNvPr id="266" name="btfpIconCircle957901">
              <a:extLst>
                <a:ext uri="{FF2B5EF4-FFF2-40B4-BE49-F238E27FC236}">
                  <a16:creationId xmlns:a16="http://schemas.microsoft.com/office/drawing/2014/main" id="{64452227-ABF8-0CEC-C3E3-F9209F993276}"/>
                </a:ext>
              </a:extLst>
            </p:cNvPr>
            <p:cNvSpPr>
              <a:spLocks/>
            </p:cNvSpPr>
            <p:nvPr/>
          </p:nvSpPr>
          <p:spPr bwMode="gray">
            <a:xfrm>
              <a:off x="8378296" y="5826930"/>
              <a:ext cx="1081089" cy="1081088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err="1">
                <a:solidFill>
                  <a:schemeClr val="tx1"/>
                </a:solidFill>
              </a:endParaRPr>
            </a:p>
          </p:txBody>
        </p:sp>
        <p:pic>
          <p:nvPicPr>
            <p:cNvPr id="265" name="btfpIconLines957901">
              <a:extLst>
                <a:ext uri="{FF2B5EF4-FFF2-40B4-BE49-F238E27FC236}">
                  <a16:creationId xmlns:a16="http://schemas.microsoft.com/office/drawing/2014/main" id="{1F389D3F-5942-C0DA-5F40-3EC7126ACB46}"/>
                </a:ext>
              </a:extLst>
            </p:cNvPr>
            <p:cNvPicPr>
              <a:picLocks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78296" y="5826930"/>
              <a:ext cx="1081088" cy="1081088"/>
            </a:xfrm>
            <a:prstGeom prst="rect">
              <a:avLst/>
            </a:prstGeom>
          </p:spPr>
        </p:pic>
      </p:grpSp>
      <p:sp>
        <p:nvSpPr>
          <p:cNvPr id="70" name="btfpRunningAgenda2LevelBarRight587740">
            <a:extLst>
              <a:ext uri="{FF2B5EF4-FFF2-40B4-BE49-F238E27FC236}">
                <a16:creationId xmlns:a16="http://schemas.microsoft.com/office/drawing/2014/main" id="{0A59F674-5EA5-4F89-912A-0F6EAD8F5A13}"/>
              </a:ext>
            </a:extLst>
          </p:cNvPr>
          <p:cNvSpPr/>
          <p:nvPr/>
        </p:nvSpPr>
        <p:spPr bwMode="gray">
          <a:xfrm>
            <a:off x="3185197" y="944429"/>
            <a:ext cx="3775291" cy="257442"/>
          </a:xfrm>
          <a:custGeom>
            <a:avLst/>
            <a:gdLst>
              <a:gd name="connsiteX0" fmla="*/ 950801 w 2367856"/>
              <a:gd name="connsiteY0" fmla="*/ 0 h 257442"/>
              <a:gd name="connsiteX1" fmla="*/ 2367856 w 2367856"/>
              <a:gd name="connsiteY1" fmla="*/ 0 h 257442"/>
              <a:gd name="connsiteX2" fmla="*/ 2313135 w 2367856"/>
              <a:gd name="connsiteY2" fmla="*/ 257442 h 257442"/>
              <a:gd name="connsiteX3" fmla="*/ 0 w 2367856"/>
              <a:gd name="connsiteY3" fmla="*/ 257442 h 257442"/>
              <a:gd name="connsiteX0" fmla="*/ 950801 w 2313135"/>
              <a:gd name="connsiteY0" fmla="*/ 0 h 257442"/>
              <a:gd name="connsiteX1" fmla="*/ 896080 w 2313135"/>
              <a:gd name="connsiteY1" fmla="*/ 257442 h 257442"/>
              <a:gd name="connsiteX2" fmla="*/ 2313135 w 2313135"/>
              <a:gd name="connsiteY2" fmla="*/ 257442 h 257442"/>
              <a:gd name="connsiteX3" fmla="*/ 0 w 2313135"/>
              <a:gd name="connsiteY3" fmla="*/ 257442 h 257442"/>
              <a:gd name="connsiteX0" fmla="*/ 950801 w 950801"/>
              <a:gd name="connsiteY0" fmla="*/ 0 h 257442"/>
              <a:gd name="connsiteX1" fmla="*/ 896080 w 950801"/>
              <a:gd name="connsiteY1" fmla="*/ 257442 h 257442"/>
              <a:gd name="connsiteX2" fmla="*/ 1 w 950801"/>
              <a:gd name="connsiteY2" fmla="*/ 257442 h 257442"/>
              <a:gd name="connsiteX3" fmla="*/ 0 w 950801"/>
              <a:gd name="connsiteY3" fmla="*/ 257442 h 257442"/>
              <a:gd name="connsiteX0" fmla="*/ 950800 w 950800"/>
              <a:gd name="connsiteY0" fmla="*/ 0 h 257442"/>
              <a:gd name="connsiteX1" fmla="*/ 896079 w 950800"/>
              <a:gd name="connsiteY1" fmla="*/ 257442 h 257442"/>
              <a:gd name="connsiteX2" fmla="*/ 0 w 950800"/>
              <a:gd name="connsiteY2" fmla="*/ 257442 h 257442"/>
              <a:gd name="connsiteX3" fmla="*/ 54721 w 950800"/>
              <a:gd name="connsiteY3" fmla="*/ 0 h 257442"/>
              <a:gd name="connsiteX0" fmla="*/ 1111100 w 1111100"/>
              <a:gd name="connsiteY0" fmla="*/ 0 h 257442"/>
              <a:gd name="connsiteX1" fmla="*/ 896079 w 1111100"/>
              <a:gd name="connsiteY1" fmla="*/ 257442 h 257442"/>
              <a:gd name="connsiteX2" fmla="*/ 0 w 1111100"/>
              <a:gd name="connsiteY2" fmla="*/ 257442 h 257442"/>
              <a:gd name="connsiteX3" fmla="*/ 54721 w 1111100"/>
              <a:gd name="connsiteY3" fmla="*/ 0 h 257442"/>
              <a:gd name="connsiteX0" fmla="*/ 1111100 w 1111100"/>
              <a:gd name="connsiteY0" fmla="*/ 0 h 257442"/>
              <a:gd name="connsiteX1" fmla="*/ 1056379 w 1111100"/>
              <a:gd name="connsiteY1" fmla="*/ 257442 h 257442"/>
              <a:gd name="connsiteX2" fmla="*/ 0 w 1111100"/>
              <a:gd name="connsiteY2" fmla="*/ 257442 h 257442"/>
              <a:gd name="connsiteX3" fmla="*/ 54721 w 1111100"/>
              <a:gd name="connsiteY3" fmla="*/ 0 h 257442"/>
              <a:gd name="connsiteX0" fmla="*/ 1111101 w 1111101"/>
              <a:gd name="connsiteY0" fmla="*/ 0 h 257442"/>
              <a:gd name="connsiteX1" fmla="*/ 1056380 w 1111101"/>
              <a:gd name="connsiteY1" fmla="*/ 257442 h 257442"/>
              <a:gd name="connsiteX2" fmla="*/ 0 w 1111101"/>
              <a:gd name="connsiteY2" fmla="*/ 257442 h 257442"/>
              <a:gd name="connsiteX3" fmla="*/ 54722 w 1111101"/>
              <a:gd name="connsiteY3" fmla="*/ 0 h 257442"/>
              <a:gd name="connsiteX0" fmla="*/ 1111101 w 1111101"/>
              <a:gd name="connsiteY0" fmla="*/ 0 h 257442"/>
              <a:gd name="connsiteX1" fmla="*/ 1056380 w 1111101"/>
              <a:gd name="connsiteY1" fmla="*/ 257442 h 257442"/>
              <a:gd name="connsiteX2" fmla="*/ 0 w 1111101"/>
              <a:gd name="connsiteY2" fmla="*/ 257442 h 257442"/>
              <a:gd name="connsiteX3" fmla="*/ 54722 w 1111101"/>
              <a:gd name="connsiteY3" fmla="*/ 0 h 257442"/>
              <a:gd name="connsiteX0" fmla="*/ 1279417 w 1279417"/>
              <a:gd name="connsiteY0" fmla="*/ 0 h 257442"/>
              <a:gd name="connsiteX1" fmla="*/ 1056380 w 1279417"/>
              <a:gd name="connsiteY1" fmla="*/ 257442 h 257442"/>
              <a:gd name="connsiteX2" fmla="*/ 0 w 1279417"/>
              <a:gd name="connsiteY2" fmla="*/ 257442 h 257442"/>
              <a:gd name="connsiteX3" fmla="*/ 54722 w 1279417"/>
              <a:gd name="connsiteY3" fmla="*/ 0 h 257442"/>
              <a:gd name="connsiteX0" fmla="*/ 1279417 w 1279417"/>
              <a:gd name="connsiteY0" fmla="*/ 0 h 257442"/>
              <a:gd name="connsiteX1" fmla="*/ 1224696 w 1279417"/>
              <a:gd name="connsiteY1" fmla="*/ 257442 h 257442"/>
              <a:gd name="connsiteX2" fmla="*/ 0 w 1279417"/>
              <a:gd name="connsiteY2" fmla="*/ 257442 h 257442"/>
              <a:gd name="connsiteX3" fmla="*/ 54722 w 1279417"/>
              <a:gd name="connsiteY3" fmla="*/ 0 h 257442"/>
              <a:gd name="connsiteX0" fmla="*/ 1279416 w 1279416"/>
              <a:gd name="connsiteY0" fmla="*/ 0 h 257442"/>
              <a:gd name="connsiteX1" fmla="*/ 1224695 w 1279416"/>
              <a:gd name="connsiteY1" fmla="*/ 257442 h 257442"/>
              <a:gd name="connsiteX2" fmla="*/ 0 w 1279416"/>
              <a:gd name="connsiteY2" fmla="*/ 257442 h 257442"/>
              <a:gd name="connsiteX3" fmla="*/ 54721 w 1279416"/>
              <a:gd name="connsiteY3" fmla="*/ 0 h 257442"/>
              <a:gd name="connsiteX0" fmla="*/ 1279416 w 1279416"/>
              <a:gd name="connsiteY0" fmla="*/ 0 h 257442"/>
              <a:gd name="connsiteX1" fmla="*/ 1224695 w 1279416"/>
              <a:gd name="connsiteY1" fmla="*/ 257442 h 257442"/>
              <a:gd name="connsiteX2" fmla="*/ 0 w 1279416"/>
              <a:gd name="connsiteY2" fmla="*/ 257442 h 257442"/>
              <a:gd name="connsiteX3" fmla="*/ 54720 w 1279416"/>
              <a:gd name="connsiteY3" fmla="*/ 0 h 257442"/>
              <a:gd name="connsiteX0" fmla="*/ 1439716 w 1439716"/>
              <a:gd name="connsiteY0" fmla="*/ 0 h 257442"/>
              <a:gd name="connsiteX1" fmla="*/ 1224695 w 1439716"/>
              <a:gd name="connsiteY1" fmla="*/ 257442 h 257442"/>
              <a:gd name="connsiteX2" fmla="*/ 0 w 1439716"/>
              <a:gd name="connsiteY2" fmla="*/ 257442 h 257442"/>
              <a:gd name="connsiteX3" fmla="*/ 54720 w 1439716"/>
              <a:gd name="connsiteY3" fmla="*/ 0 h 257442"/>
              <a:gd name="connsiteX0" fmla="*/ 1439716 w 1439716"/>
              <a:gd name="connsiteY0" fmla="*/ 0 h 257442"/>
              <a:gd name="connsiteX1" fmla="*/ 1384995 w 1439716"/>
              <a:gd name="connsiteY1" fmla="*/ 257442 h 257442"/>
              <a:gd name="connsiteX2" fmla="*/ 0 w 1439716"/>
              <a:gd name="connsiteY2" fmla="*/ 257442 h 257442"/>
              <a:gd name="connsiteX3" fmla="*/ 54720 w 1439716"/>
              <a:gd name="connsiteY3" fmla="*/ 0 h 257442"/>
              <a:gd name="connsiteX0" fmla="*/ 1439717 w 1439717"/>
              <a:gd name="connsiteY0" fmla="*/ 0 h 257442"/>
              <a:gd name="connsiteX1" fmla="*/ 1384996 w 1439717"/>
              <a:gd name="connsiteY1" fmla="*/ 257442 h 257442"/>
              <a:gd name="connsiteX2" fmla="*/ 0 w 1439717"/>
              <a:gd name="connsiteY2" fmla="*/ 257442 h 257442"/>
              <a:gd name="connsiteX3" fmla="*/ 54721 w 1439717"/>
              <a:gd name="connsiteY3" fmla="*/ 0 h 257442"/>
              <a:gd name="connsiteX0" fmla="*/ 1439717 w 1439717"/>
              <a:gd name="connsiteY0" fmla="*/ 0 h 257442"/>
              <a:gd name="connsiteX1" fmla="*/ 1384996 w 1439717"/>
              <a:gd name="connsiteY1" fmla="*/ 257442 h 257442"/>
              <a:gd name="connsiteX2" fmla="*/ 0 w 1439717"/>
              <a:gd name="connsiteY2" fmla="*/ 257442 h 257442"/>
              <a:gd name="connsiteX3" fmla="*/ 54722 w 1439717"/>
              <a:gd name="connsiteY3" fmla="*/ 0 h 257442"/>
              <a:gd name="connsiteX0" fmla="*/ 1617651 w 1617651"/>
              <a:gd name="connsiteY0" fmla="*/ 0 h 257442"/>
              <a:gd name="connsiteX1" fmla="*/ 1384996 w 1617651"/>
              <a:gd name="connsiteY1" fmla="*/ 257442 h 257442"/>
              <a:gd name="connsiteX2" fmla="*/ 0 w 1617651"/>
              <a:gd name="connsiteY2" fmla="*/ 257442 h 257442"/>
              <a:gd name="connsiteX3" fmla="*/ 54722 w 1617651"/>
              <a:gd name="connsiteY3" fmla="*/ 0 h 257442"/>
              <a:gd name="connsiteX0" fmla="*/ 1617651 w 1617651"/>
              <a:gd name="connsiteY0" fmla="*/ 0 h 257442"/>
              <a:gd name="connsiteX1" fmla="*/ 1562930 w 1617651"/>
              <a:gd name="connsiteY1" fmla="*/ 257442 h 257442"/>
              <a:gd name="connsiteX2" fmla="*/ 0 w 1617651"/>
              <a:gd name="connsiteY2" fmla="*/ 257442 h 257442"/>
              <a:gd name="connsiteX3" fmla="*/ 54722 w 1617651"/>
              <a:gd name="connsiteY3" fmla="*/ 0 h 257442"/>
              <a:gd name="connsiteX0" fmla="*/ 1617650 w 1617650"/>
              <a:gd name="connsiteY0" fmla="*/ 0 h 257442"/>
              <a:gd name="connsiteX1" fmla="*/ 1562929 w 1617650"/>
              <a:gd name="connsiteY1" fmla="*/ 257442 h 257442"/>
              <a:gd name="connsiteX2" fmla="*/ 0 w 1617650"/>
              <a:gd name="connsiteY2" fmla="*/ 257442 h 257442"/>
              <a:gd name="connsiteX3" fmla="*/ 54721 w 1617650"/>
              <a:gd name="connsiteY3" fmla="*/ 0 h 257442"/>
              <a:gd name="connsiteX0" fmla="*/ 1617650 w 1617650"/>
              <a:gd name="connsiteY0" fmla="*/ 0 h 257442"/>
              <a:gd name="connsiteX1" fmla="*/ 1562929 w 1617650"/>
              <a:gd name="connsiteY1" fmla="*/ 257442 h 257442"/>
              <a:gd name="connsiteX2" fmla="*/ 0 w 1617650"/>
              <a:gd name="connsiteY2" fmla="*/ 257442 h 257442"/>
              <a:gd name="connsiteX3" fmla="*/ 54720 w 1617650"/>
              <a:gd name="connsiteY3" fmla="*/ 0 h 257442"/>
              <a:gd name="connsiteX0" fmla="*/ 1785964 w 1785964"/>
              <a:gd name="connsiteY0" fmla="*/ 0 h 257442"/>
              <a:gd name="connsiteX1" fmla="*/ 1562929 w 1785964"/>
              <a:gd name="connsiteY1" fmla="*/ 257442 h 257442"/>
              <a:gd name="connsiteX2" fmla="*/ 0 w 1785964"/>
              <a:gd name="connsiteY2" fmla="*/ 257442 h 257442"/>
              <a:gd name="connsiteX3" fmla="*/ 54720 w 1785964"/>
              <a:gd name="connsiteY3" fmla="*/ 0 h 257442"/>
              <a:gd name="connsiteX0" fmla="*/ 1785964 w 1785964"/>
              <a:gd name="connsiteY0" fmla="*/ 0 h 257442"/>
              <a:gd name="connsiteX1" fmla="*/ 1731243 w 1785964"/>
              <a:gd name="connsiteY1" fmla="*/ 257442 h 257442"/>
              <a:gd name="connsiteX2" fmla="*/ 0 w 1785964"/>
              <a:gd name="connsiteY2" fmla="*/ 257442 h 257442"/>
              <a:gd name="connsiteX3" fmla="*/ 54720 w 1785964"/>
              <a:gd name="connsiteY3" fmla="*/ 0 h 257442"/>
              <a:gd name="connsiteX0" fmla="*/ 1785965 w 1785965"/>
              <a:gd name="connsiteY0" fmla="*/ 0 h 257442"/>
              <a:gd name="connsiteX1" fmla="*/ 1731244 w 1785965"/>
              <a:gd name="connsiteY1" fmla="*/ 257442 h 257442"/>
              <a:gd name="connsiteX2" fmla="*/ 0 w 1785965"/>
              <a:gd name="connsiteY2" fmla="*/ 257442 h 257442"/>
              <a:gd name="connsiteX3" fmla="*/ 54721 w 1785965"/>
              <a:gd name="connsiteY3" fmla="*/ 0 h 257442"/>
              <a:gd name="connsiteX0" fmla="*/ 1785965 w 1785965"/>
              <a:gd name="connsiteY0" fmla="*/ 0 h 257442"/>
              <a:gd name="connsiteX1" fmla="*/ 1731244 w 1785965"/>
              <a:gd name="connsiteY1" fmla="*/ 257442 h 257442"/>
              <a:gd name="connsiteX2" fmla="*/ 0 w 1785965"/>
              <a:gd name="connsiteY2" fmla="*/ 257442 h 257442"/>
              <a:gd name="connsiteX3" fmla="*/ 54722 w 1785965"/>
              <a:gd name="connsiteY3" fmla="*/ 0 h 257442"/>
              <a:gd name="connsiteX0" fmla="*/ 1946266 w 1946266"/>
              <a:gd name="connsiteY0" fmla="*/ 0 h 257442"/>
              <a:gd name="connsiteX1" fmla="*/ 1731244 w 1946266"/>
              <a:gd name="connsiteY1" fmla="*/ 257442 h 257442"/>
              <a:gd name="connsiteX2" fmla="*/ 0 w 1946266"/>
              <a:gd name="connsiteY2" fmla="*/ 257442 h 257442"/>
              <a:gd name="connsiteX3" fmla="*/ 54722 w 1946266"/>
              <a:gd name="connsiteY3" fmla="*/ 0 h 257442"/>
              <a:gd name="connsiteX0" fmla="*/ 1946266 w 1946266"/>
              <a:gd name="connsiteY0" fmla="*/ 0 h 257442"/>
              <a:gd name="connsiteX1" fmla="*/ 1891544 w 1946266"/>
              <a:gd name="connsiteY1" fmla="*/ 257442 h 257442"/>
              <a:gd name="connsiteX2" fmla="*/ 0 w 1946266"/>
              <a:gd name="connsiteY2" fmla="*/ 257442 h 257442"/>
              <a:gd name="connsiteX3" fmla="*/ 54722 w 1946266"/>
              <a:gd name="connsiteY3" fmla="*/ 0 h 257442"/>
              <a:gd name="connsiteX0" fmla="*/ 1946266 w 1946266"/>
              <a:gd name="connsiteY0" fmla="*/ 0 h 257442"/>
              <a:gd name="connsiteX1" fmla="*/ 1891544 w 1946266"/>
              <a:gd name="connsiteY1" fmla="*/ 257442 h 257442"/>
              <a:gd name="connsiteX2" fmla="*/ 0 w 1946266"/>
              <a:gd name="connsiteY2" fmla="*/ 257442 h 257442"/>
              <a:gd name="connsiteX3" fmla="*/ 54722 w 1946266"/>
              <a:gd name="connsiteY3" fmla="*/ 0 h 257442"/>
              <a:gd name="connsiteX0" fmla="*/ 1946266 w 1946266"/>
              <a:gd name="connsiteY0" fmla="*/ 0 h 257442"/>
              <a:gd name="connsiteX1" fmla="*/ 1891544 w 1946266"/>
              <a:gd name="connsiteY1" fmla="*/ 257442 h 257442"/>
              <a:gd name="connsiteX2" fmla="*/ 0 w 1946266"/>
              <a:gd name="connsiteY2" fmla="*/ 257442 h 257442"/>
              <a:gd name="connsiteX3" fmla="*/ 54721 w 1946266"/>
              <a:gd name="connsiteY3" fmla="*/ 0 h 257442"/>
              <a:gd name="connsiteX0" fmla="*/ 2199540 w 2199540"/>
              <a:gd name="connsiteY0" fmla="*/ 0 h 257442"/>
              <a:gd name="connsiteX1" fmla="*/ 1891544 w 2199540"/>
              <a:gd name="connsiteY1" fmla="*/ 257442 h 257442"/>
              <a:gd name="connsiteX2" fmla="*/ 0 w 2199540"/>
              <a:gd name="connsiteY2" fmla="*/ 257442 h 257442"/>
              <a:gd name="connsiteX3" fmla="*/ 54721 w 2199540"/>
              <a:gd name="connsiteY3" fmla="*/ 0 h 257442"/>
              <a:gd name="connsiteX0" fmla="*/ 2199540 w 2199540"/>
              <a:gd name="connsiteY0" fmla="*/ 0 h 257442"/>
              <a:gd name="connsiteX1" fmla="*/ 2144819 w 2199540"/>
              <a:gd name="connsiteY1" fmla="*/ 257442 h 257442"/>
              <a:gd name="connsiteX2" fmla="*/ 0 w 2199540"/>
              <a:gd name="connsiteY2" fmla="*/ 257442 h 257442"/>
              <a:gd name="connsiteX3" fmla="*/ 54721 w 2199540"/>
              <a:gd name="connsiteY3" fmla="*/ 0 h 257442"/>
              <a:gd name="connsiteX0" fmla="*/ 2199540 w 2199540"/>
              <a:gd name="connsiteY0" fmla="*/ 0 h 257442"/>
              <a:gd name="connsiteX1" fmla="*/ 2144819 w 2199540"/>
              <a:gd name="connsiteY1" fmla="*/ 257442 h 257442"/>
              <a:gd name="connsiteX2" fmla="*/ 0 w 2199540"/>
              <a:gd name="connsiteY2" fmla="*/ 257442 h 257442"/>
              <a:gd name="connsiteX3" fmla="*/ 54721 w 2199540"/>
              <a:gd name="connsiteY3" fmla="*/ 0 h 257442"/>
              <a:gd name="connsiteX0" fmla="*/ 2199540 w 2199540"/>
              <a:gd name="connsiteY0" fmla="*/ 0 h 257442"/>
              <a:gd name="connsiteX1" fmla="*/ 2144819 w 2199540"/>
              <a:gd name="connsiteY1" fmla="*/ 257442 h 257442"/>
              <a:gd name="connsiteX2" fmla="*/ 0 w 2199540"/>
              <a:gd name="connsiteY2" fmla="*/ 257442 h 257442"/>
              <a:gd name="connsiteX3" fmla="*/ 54721 w 2199540"/>
              <a:gd name="connsiteY3" fmla="*/ 0 h 257442"/>
              <a:gd name="connsiteX0" fmla="*/ 2377474 w 2377474"/>
              <a:gd name="connsiteY0" fmla="*/ 0 h 257442"/>
              <a:gd name="connsiteX1" fmla="*/ 2144819 w 2377474"/>
              <a:gd name="connsiteY1" fmla="*/ 257442 h 257442"/>
              <a:gd name="connsiteX2" fmla="*/ 0 w 2377474"/>
              <a:gd name="connsiteY2" fmla="*/ 257442 h 257442"/>
              <a:gd name="connsiteX3" fmla="*/ 54721 w 2377474"/>
              <a:gd name="connsiteY3" fmla="*/ 0 h 257442"/>
              <a:gd name="connsiteX0" fmla="*/ 2377474 w 2377474"/>
              <a:gd name="connsiteY0" fmla="*/ 0 h 257442"/>
              <a:gd name="connsiteX1" fmla="*/ 2322753 w 2377474"/>
              <a:gd name="connsiteY1" fmla="*/ 257442 h 257442"/>
              <a:gd name="connsiteX2" fmla="*/ 0 w 2377474"/>
              <a:gd name="connsiteY2" fmla="*/ 257442 h 257442"/>
              <a:gd name="connsiteX3" fmla="*/ 54721 w 2377474"/>
              <a:gd name="connsiteY3" fmla="*/ 0 h 257442"/>
              <a:gd name="connsiteX0" fmla="*/ 2377474 w 2377474"/>
              <a:gd name="connsiteY0" fmla="*/ 0 h 257442"/>
              <a:gd name="connsiteX1" fmla="*/ 2322753 w 2377474"/>
              <a:gd name="connsiteY1" fmla="*/ 257442 h 257442"/>
              <a:gd name="connsiteX2" fmla="*/ 0 w 2377474"/>
              <a:gd name="connsiteY2" fmla="*/ 257442 h 257442"/>
              <a:gd name="connsiteX3" fmla="*/ 54721 w 2377474"/>
              <a:gd name="connsiteY3" fmla="*/ 0 h 257442"/>
              <a:gd name="connsiteX0" fmla="*/ 2377474 w 2377474"/>
              <a:gd name="connsiteY0" fmla="*/ 0 h 257442"/>
              <a:gd name="connsiteX1" fmla="*/ 2322753 w 2377474"/>
              <a:gd name="connsiteY1" fmla="*/ 257442 h 257442"/>
              <a:gd name="connsiteX2" fmla="*/ 0 w 2377474"/>
              <a:gd name="connsiteY2" fmla="*/ 257442 h 257442"/>
              <a:gd name="connsiteX3" fmla="*/ 54721 w 2377474"/>
              <a:gd name="connsiteY3" fmla="*/ 0 h 257442"/>
              <a:gd name="connsiteX0" fmla="*/ 2545789 w 2545789"/>
              <a:gd name="connsiteY0" fmla="*/ 0 h 257442"/>
              <a:gd name="connsiteX1" fmla="*/ 2322753 w 2545789"/>
              <a:gd name="connsiteY1" fmla="*/ 257442 h 257442"/>
              <a:gd name="connsiteX2" fmla="*/ 0 w 2545789"/>
              <a:gd name="connsiteY2" fmla="*/ 257442 h 257442"/>
              <a:gd name="connsiteX3" fmla="*/ 54721 w 2545789"/>
              <a:gd name="connsiteY3" fmla="*/ 0 h 257442"/>
              <a:gd name="connsiteX0" fmla="*/ 2545789 w 2545789"/>
              <a:gd name="connsiteY0" fmla="*/ 0 h 257442"/>
              <a:gd name="connsiteX1" fmla="*/ 2491068 w 2545789"/>
              <a:gd name="connsiteY1" fmla="*/ 257442 h 257442"/>
              <a:gd name="connsiteX2" fmla="*/ 0 w 2545789"/>
              <a:gd name="connsiteY2" fmla="*/ 257442 h 257442"/>
              <a:gd name="connsiteX3" fmla="*/ 54721 w 2545789"/>
              <a:gd name="connsiteY3" fmla="*/ 0 h 257442"/>
              <a:gd name="connsiteX0" fmla="*/ 2545789 w 2545789"/>
              <a:gd name="connsiteY0" fmla="*/ 0 h 257442"/>
              <a:gd name="connsiteX1" fmla="*/ 2491068 w 2545789"/>
              <a:gd name="connsiteY1" fmla="*/ 257442 h 257442"/>
              <a:gd name="connsiteX2" fmla="*/ 0 w 2545789"/>
              <a:gd name="connsiteY2" fmla="*/ 257442 h 257442"/>
              <a:gd name="connsiteX3" fmla="*/ 54721 w 2545789"/>
              <a:gd name="connsiteY3" fmla="*/ 0 h 257442"/>
              <a:gd name="connsiteX0" fmla="*/ 2545789 w 2545789"/>
              <a:gd name="connsiteY0" fmla="*/ 0 h 257442"/>
              <a:gd name="connsiteX1" fmla="*/ 2491068 w 2545789"/>
              <a:gd name="connsiteY1" fmla="*/ 257442 h 257442"/>
              <a:gd name="connsiteX2" fmla="*/ 0 w 2545789"/>
              <a:gd name="connsiteY2" fmla="*/ 257442 h 257442"/>
              <a:gd name="connsiteX3" fmla="*/ 54721 w 2545789"/>
              <a:gd name="connsiteY3" fmla="*/ 0 h 257442"/>
              <a:gd name="connsiteX0" fmla="*/ 2807079 w 2807079"/>
              <a:gd name="connsiteY0" fmla="*/ 0 h 257442"/>
              <a:gd name="connsiteX1" fmla="*/ 2491068 w 2807079"/>
              <a:gd name="connsiteY1" fmla="*/ 257442 h 257442"/>
              <a:gd name="connsiteX2" fmla="*/ 0 w 2807079"/>
              <a:gd name="connsiteY2" fmla="*/ 257442 h 257442"/>
              <a:gd name="connsiteX3" fmla="*/ 54721 w 2807079"/>
              <a:gd name="connsiteY3" fmla="*/ 0 h 257442"/>
              <a:gd name="connsiteX0" fmla="*/ 2807079 w 2807079"/>
              <a:gd name="connsiteY0" fmla="*/ 0 h 257442"/>
              <a:gd name="connsiteX1" fmla="*/ 2752358 w 2807079"/>
              <a:gd name="connsiteY1" fmla="*/ 257442 h 257442"/>
              <a:gd name="connsiteX2" fmla="*/ 0 w 2807079"/>
              <a:gd name="connsiteY2" fmla="*/ 257442 h 257442"/>
              <a:gd name="connsiteX3" fmla="*/ 54721 w 2807079"/>
              <a:gd name="connsiteY3" fmla="*/ 0 h 257442"/>
              <a:gd name="connsiteX0" fmla="*/ 2807079 w 2807079"/>
              <a:gd name="connsiteY0" fmla="*/ 0 h 257442"/>
              <a:gd name="connsiteX1" fmla="*/ 2752358 w 2807079"/>
              <a:gd name="connsiteY1" fmla="*/ 257442 h 257442"/>
              <a:gd name="connsiteX2" fmla="*/ 0 w 2807079"/>
              <a:gd name="connsiteY2" fmla="*/ 257442 h 257442"/>
              <a:gd name="connsiteX3" fmla="*/ 54721 w 2807079"/>
              <a:gd name="connsiteY3" fmla="*/ 0 h 257442"/>
              <a:gd name="connsiteX0" fmla="*/ 2807079 w 2807079"/>
              <a:gd name="connsiteY0" fmla="*/ 0 h 257442"/>
              <a:gd name="connsiteX1" fmla="*/ 2752358 w 2807079"/>
              <a:gd name="connsiteY1" fmla="*/ 257442 h 257442"/>
              <a:gd name="connsiteX2" fmla="*/ 0 w 2807079"/>
              <a:gd name="connsiteY2" fmla="*/ 257442 h 257442"/>
              <a:gd name="connsiteX3" fmla="*/ 54721 w 2807079"/>
              <a:gd name="connsiteY3" fmla="*/ 0 h 257442"/>
              <a:gd name="connsiteX0" fmla="*/ 2975393 w 2975393"/>
              <a:gd name="connsiteY0" fmla="*/ 0 h 257442"/>
              <a:gd name="connsiteX1" fmla="*/ 2752358 w 2975393"/>
              <a:gd name="connsiteY1" fmla="*/ 257442 h 257442"/>
              <a:gd name="connsiteX2" fmla="*/ 0 w 2975393"/>
              <a:gd name="connsiteY2" fmla="*/ 257442 h 257442"/>
              <a:gd name="connsiteX3" fmla="*/ 54721 w 2975393"/>
              <a:gd name="connsiteY3" fmla="*/ 0 h 257442"/>
              <a:gd name="connsiteX0" fmla="*/ 2975393 w 2975393"/>
              <a:gd name="connsiteY0" fmla="*/ 0 h 257442"/>
              <a:gd name="connsiteX1" fmla="*/ 2920672 w 2975393"/>
              <a:gd name="connsiteY1" fmla="*/ 257442 h 257442"/>
              <a:gd name="connsiteX2" fmla="*/ 0 w 2975393"/>
              <a:gd name="connsiteY2" fmla="*/ 257442 h 257442"/>
              <a:gd name="connsiteX3" fmla="*/ 54721 w 2975393"/>
              <a:gd name="connsiteY3" fmla="*/ 0 h 257442"/>
              <a:gd name="connsiteX0" fmla="*/ 2975393 w 2975393"/>
              <a:gd name="connsiteY0" fmla="*/ 0 h 257442"/>
              <a:gd name="connsiteX1" fmla="*/ 2920672 w 2975393"/>
              <a:gd name="connsiteY1" fmla="*/ 257442 h 257442"/>
              <a:gd name="connsiteX2" fmla="*/ 0 w 2975393"/>
              <a:gd name="connsiteY2" fmla="*/ 257442 h 257442"/>
              <a:gd name="connsiteX3" fmla="*/ 54721 w 2975393"/>
              <a:gd name="connsiteY3" fmla="*/ 0 h 257442"/>
              <a:gd name="connsiteX0" fmla="*/ 2975393 w 2975393"/>
              <a:gd name="connsiteY0" fmla="*/ 0 h 257442"/>
              <a:gd name="connsiteX1" fmla="*/ 2920672 w 2975393"/>
              <a:gd name="connsiteY1" fmla="*/ 257442 h 257442"/>
              <a:gd name="connsiteX2" fmla="*/ 0 w 2975393"/>
              <a:gd name="connsiteY2" fmla="*/ 257442 h 257442"/>
              <a:gd name="connsiteX3" fmla="*/ 54721 w 2975393"/>
              <a:gd name="connsiteY3" fmla="*/ 0 h 257442"/>
              <a:gd name="connsiteX0" fmla="*/ 3143708 w 3143708"/>
              <a:gd name="connsiteY0" fmla="*/ 0 h 257442"/>
              <a:gd name="connsiteX1" fmla="*/ 2920672 w 3143708"/>
              <a:gd name="connsiteY1" fmla="*/ 257442 h 257442"/>
              <a:gd name="connsiteX2" fmla="*/ 0 w 3143708"/>
              <a:gd name="connsiteY2" fmla="*/ 257442 h 257442"/>
              <a:gd name="connsiteX3" fmla="*/ 54721 w 3143708"/>
              <a:gd name="connsiteY3" fmla="*/ 0 h 257442"/>
              <a:gd name="connsiteX0" fmla="*/ 3143708 w 3143708"/>
              <a:gd name="connsiteY0" fmla="*/ 0 h 257442"/>
              <a:gd name="connsiteX1" fmla="*/ 3088987 w 3143708"/>
              <a:gd name="connsiteY1" fmla="*/ 257442 h 257442"/>
              <a:gd name="connsiteX2" fmla="*/ 0 w 3143708"/>
              <a:gd name="connsiteY2" fmla="*/ 257442 h 257442"/>
              <a:gd name="connsiteX3" fmla="*/ 54721 w 3143708"/>
              <a:gd name="connsiteY3" fmla="*/ 0 h 257442"/>
              <a:gd name="connsiteX0" fmla="*/ 3143709 w 3143709"/>
              <a:gd name="connsiteY0" fmla="*/ 0 h 257442"/>
              <a:gd name="connsiteX1" fmla="*/ 3088988 w 3143709"/>
              <a:gd name="connsiteY1" fmla="*/ 257442 h 257442"/>
              <a:gd name="connsiteX2" fmla="*/ 0 w 3143709"/>
              <a:gd name="connsiteY2" fmla="*/ 257442 h 257442"/>
              <a:gd name="connsiteX3" fmla="*/ 54722 w 3143709"/>
              <a:gd name="connsiteY3" fmla="*/ 0 h 257442"/>
              <a:gd name="connsiteX0" fmla="*/ 3143709 w 3143709"/>
              <a:gd name="connsiteY0" fmla="*/ 0 h 257442"/>
              <a:gd name="connsiteX1" fmla="*/ 3088988 w 3143709"/>
              <a:gd name="connsiteY1" fmla="*/ 257442 h 257442"/>
              <a:gd name="connsiteX2" fmla="*/ 0 w 3143709"/>
              <a:gd name="connsiteY2" fmla="*/ 257442 h 257442"/>
              <a:gd name="connsiteX3" fmla="*/ 54722 w 3143709"/>
              <a:gd name="connsiteY3" fmla="*/ 0 h 257442"/>
              <a:gd name="connsiteX0" fmla="*/ 3321643 w 3321643"/>
              <a:gd name="connsiteY0" fmla="*/ 0 h 257442"/>
              <a:gd name="connsiteX1" fmla="*/ 3088988 w 3321643"/>
              <a:gd name="connsiteY1" fmla="*/ 257442 h 257442"/>
              <a:gd name="connsiteX2" fmla="*/ 0 w 3321643"/>
              <a:gd name="connsiteY2" fmla="*/ 257442 h 257442"/>
              <a:gd name="connsiteX3" fmla="*/ 54722 w 3321643"/>
              <a:gd name="connsiteY3" fmla="*/ 0 h 257442"/>
              <a:gd name="connsiteX0" fmla="*/ 3321643 w 3321643"/>
              <a:gd name="connsiteY0" fmla="*/ 0 h 257442"/>
              <a:gd name="connsiteX1" fmla="*/ 3266922 w 3321643"/>
              <a:gd name="connsiteY1" fmla="*/ 257442 h 257442"/>
              <a:gd name="connsiteX2" fmla="*/ 0 w 3321643"/>
              <a:gd name="connsiteY2" fmla="*/ 257442 h 257442"/>
              <a:gd name="connsiteX3" fmla="*/ 54722 w 3321643"/>
              <a:gd name="connsiteY3" fmla="*/ 0 h 257442"/>
              <a:gd name="connsiteX0" fmla="*/ 3321642 w 3321642"/>
              <a:gd name="connsiteY0" fmla="*/ 0 h 257442"/>
              <a:gd name="connsiteX1" fmla="*/ 3266921 w 3321642"/>
              <a:gd name="connsiteY1" fmla="*/ 257442 h 257442"/>
              <a:gd name="connsiteX2" fmla="*/ 0 w 3321642"/>
              <a:gd name="connsiteY2" fmla="*/ 257442 h 257442"/>
              <a:gd name="connsiteX3" fmla="*/ 54721 w 3321642"/>
              <a:gd name="connsiteY3" fmla="*/ 0 h 257442"/>
              <a:gd name="connsiteX0" fmla="*/ 3321642 w 3321642"/>
              <a:gd name="connsiteY0" fmla="*/ 0 h 257442"/>
              <a:gd name="connsiteX1" fmla="*/ 3266921 w 3321642"/>
              <a:gd name="connsiteY1" fmla="*/ 257442 h 257442"/>
              <a:gd name="connsiteX2" fmla="*/ 0 w 3321642"/>
              <a:gd name="connsiteY2" fmla="*/ 257442 h 257442"/>
              <a:gd name="connsiteX3" fmla="*/ 54720 w 3321642"/>
              <a:gd name="connsiteY3" fmla="*/ 0 h 257442"/>
              <a:gd name="connsiteX0" fmla="*/ 3626212 w 3626212"/>
              <a:gd name="connsiteY0" fmla="*/ 0 h 257442"/>
              <a:gd name="connsiteX1" fmla="*/ 3266921 w 3626212"/>
              <a:gd name="connsiteY1" fmla="*/ 257442 h 257442"/>
              <a:gd name="connsiteX2" fmla="*/ 0 w 3626212"/>
              <a:gd name="connsiteY2" fmla="*/ 257442 h 257442"/>
              <a:gd name="connsiteX3" fmla="*/ 54720 w 3626212"/>
              <a:gd name="connsiteY3" fmla="*/ 0 h 257442"/>
              <a:gd name="connsiteX0" fmla="*/ 3626212 w 3626212"/>
              <a:gd name="connsiteY0" fmla="*/ 0 h 257442"/>
              <a:gd name="connsiteX1" fmla="*/ 3571491 w 3626212"/>
              <a:gd name="connsiteY1" fmla="*/ 257442 h 257442"/>
              <a:gd name="connsiteX2" fmla="*/ 0 w 3626212"/>
              <a:gd name="connsiteY2" fmla="*/ 257442 h 257442"/>
              <a:gd name="connsiteX3" fmla="*/ 54720 w 3626212"/>
              <a:gd name="connsiteY3" fmla="*/ 0 h 257442"/>
              <a:gd name="connsiteX0" fmla="*/ 3626213 w 3626213"/>
              <a:gd name="connsiteY0" fmla="*/ 0 h 257442"/>
              <a:gd name="connsiteX1" fmla="*/ 3571492 w 3626213"/>
              <a:gd name="connsiteY1" fmla="*/ 257442 h 257442"/>
              <a:gd name="connsiteX2" fmla="*/ 0 w 3626213"/>
              <a:gd name="connsiteY2" fmla="*/ 257442 h 257442"/>
              <a:gd name="connsiteX3" fmla="*/ 54721 w 3626213"/>
              <a:gd name="connsiteY3" fmla="*/ 0 h 257442"/>
              <a:gd name="connsiteX0" fmla="*/ 3626213 w 3626213"/>
              <a:gd name="connsiteY0" fmla="*/ 0 h 257442"/>
              <a:gd name="connsiteX1" fmla="*/ 3571492 w 3626213"/>
              <a:gd name="connsiteY1" fmla="*/ 257442 h 257442"/>
              <a:gd name="connsiteX2" fmla="*/ 0 w 3626213"/>
              <a:gd name="connsiteY2" fmla="*/ 257442 h 257442"/>
              <a:gd name="connsiteX3" fmla="*/ 54722 w 3626213"/>
              <a:gd name="connsiteY3" fmla="*/ 0 h 257442"/>
              <a:gd name="connsiteX0" fmla="*/ 3812162 w 3812162"/>
              <a:gd name="connsiteY0" fmla="*/ 0 h 257442"/>
              <a:gd name="connsiteX1" fmla="*/ 3571492 w 3812162"/>
              <a:gd name="connsiteY1" fmla="*/ 257442 h 257442"/>
              <a:gd name="connsiteX2" fmla="*/ 0 w 3812162"/>
              <a:gd name="connsiteY2" fmla="*/ 257442 h 257442"/>
              <a:gd name="connsiteX3" fmla="*/ 54722 w 3812162"/>
              <a:gd name="connsiteY3" fmla="*/ 0 h 257442"/>
              <a:gd name="connsiteX0" fmla="*/ 3812162 w 3812162"/>
              <a:gd name="connsiteY0" fmla="*/ 0 h 257442"/>
              <a:gd name="connsiteX1" fmla="*/ 3757440 w 3812162"/>
              <a:gd name="connsiteY1" fmla="*/ 257442 h 257442"/>
              <a:gd name="connsiteX2" fmla="*/ 0 w 3812162"/>
              <a:gd name="connsiteY2" fmla="*/ 257442 h 257442"/>
              <a:gd name="connsiteX3" fmla="*/ 54722 w 3812162"/>
              <a:gd name="connsiteY3" fmla="*/ 0 h 257442"/>
              <a:gd name="connsiteX0" fmla="*/ 3812162 w 3812162"/>
              <a:gd name="connsiteY0" fmla="*/ 0 h 257442"/>
              <a:gd name="connsiteX1" fmla="*/ 3757440 w 3812162"/>
              <a:gd name="connsiteY1" fmla="*/ 257442 h 257442"/>
              <a:gd name="connsiteX2" fmla="*/ 0 w 3812162"/>
              <a:gd name="connsiteY2" fmla="*/ 257442 h 257442"/>
              <a:gd name="connsiteX3" fmla="*/ 54722 w 3812162"/>
              <a:gd name="connsiteY3" fmla="*/ 0 h 257442"/>
              <a:gd name="connsiteX0" fmla="*/ 3812162 w 3812162"/>
              <a:gd name="connsiteY0" fmla="*/ 0 h 257442"/>
              <a:gd name="connsiteX1" fmla="*/ 3757440 w 3812162"/>
              <a:gd name="connsiteY1" fmla="*/ 257442 h 257442"/>
              <a:gd name="connsiteX2" fmla="*/ 0 w 3812162"/>
              <a:gd name="connsiteY2" fmla="*/ 257442 h 257442"/>
              <a:gd name="connsiteX3" fmla="*/ 54721 w 3812162"/>
              <a:gd name="connsiteY3" fmla="*/ 0 h 257442"/>
              <a:gd name="connsiteX0" fmla="*/ 3972460 w 3972460"/>
              <a:gd name="connsiteY0" fmla="*/ 0 h 257442"/>
              <a:gd name="connsiteX1" fmla="*/ 3757440 w 3972460"/>
              <a:gd name="connsiteY1" fmla="*/ 257442 h 257442"/>
              <a:gd name="connsiteX2" fmla="*/ 0 w 3972460"/>
              <a:gd name="connsiteY2" fmla="*/ 257442 h 257442"/>
              <a:gd name="connsiteX3" fmla="*/ 54721 w 3972460"/>
              <a:gd name="connsiteY3" fmla="*/ 0 h 257442"/>
              <a:gd name="connsiteX0" fmla="*/ 3972460 w 3972460"/>
              <a:gd name="connsiteY0" fmla="*/ 0 h 257442"/>
              <a:gd name="connsiteX1" fmla="*/ 3917739 w 3972460"/>
              <a:gd name="connsiteY1" fmla="*/ 257442 h 257442"/>
              <a:gd name="connsiteX2" fmla="*/ 0 w 3972460"/>
              <a:gd name="connsiteY2" fmla="*/ 257442 h 257442"/>
              <a:gd name="connsiteX3" fmla="*/ 54721 w 3972460"/>
              <a:gd name="connsiteY3" fmla="*/ 0 h 257442"/>
              <a:gd name="connsiteX0" fmla="*/ 3972460 w 3972460"/>
              <a:gd name="connsiteY0" fmla="*/ 0 h 257442"/>
              <a:gd name="connsiteX1" fmla="*/ 3917739 w 3972460"/>
              <a:gd name="connsiteY1" fmla="*/ 257442 h 257442"/>
              <a:gd name="connsiteX2" fmla="*/ 0 w 3972460"/>
              <a:gd name="connsiteY2" fmla="*/ 257442 h 257442"/>
              <a:gd name="connsiteX3" fmla="*/ 54721 w 3972460"/>
              <a:gd name="connsiteY3" fmla="*/ 0 h 257442"/>
              <a:gd name="connsiteX0" fmla="*/ 3972460 w 3972460"/>
              <a:gd name="connsiteY0" fmla="*/ 0 h 257442"/>
              <a:gd name="connsiteX1" fmla="*/ 3917739 w 3972460"/>
              <a:gd name="connsiteY1" fmla="*/ 257442 h 257442"/>
              <a:gd name="connsiteX2" fmla="*/ 0 w 3972460"/>
              <a:gd name="connsiteY2" fmla="*/ 257442 h 257442"/>
              <a:gd name="connsiteX3" fmla="*/ 54721 w 3972460"/>
              <a:gd name="connsiteY3" fmla="*/ 0 h 257442"/>
              <a:gd name="connsiteX0" fmla="*/ 4140777 w 4140777"/>
              <a:gd name="connsiteY0" fmla="*/ 0 h 257442"/>
              <a:gd name="connsiteX1" fmla="*/ 3917739 w 4140777"/>
              <a:gd name="connsiteY1" fmla="*/ 257442 h 257442"/>
              <a:gd name="connsiteX2" fmla="*/ 0 w 4140777"/>
              <a:gd name="connsiteY2" fmla="*/ 257442 h 257442"/>
              <a:gd name="connsiteX3" fmla="*/ 54721 w 4140777"/>
              <a:gd name="connsiteY3" fmla="*/ 0 h 257442"/>
              <a:gd name="connsiteX0" fmla="*/ 4140777 w 4140777"/>
              <a:gd name="connsiteY0" fmla="*/ 0 h 257442"/>
              <a:gd name="connsiteX1" fmla="*/ 4086056 w 4140777"/>
              <a:gd name="connsiteY1" fmla="*/ 257442 h 257442"/>
              <a:gd name="connsiteX2" fmla="*/ 0 w 4140777"/>
              <a:gd name="connsiteY2" fmla="*/ 257442 h 257442"/>
              <a:gd name="connsiteX3" fmla="*/ 54721 w 4140777"/>
              <a:gd name="connsiteY3" fmla="*/ 0 h 257442"/>
              <a:gd name="connsiteX0" fmla="*/ 4140777 w 4140777"/>
              <a:gd name="connsiteY0" fmla="*/ 0 h 257442"/>
              <a:gd name="connsiteX1" fmla="*/ 4086056 w 4140777"/>
              <a:gd name="connsiteY1" fmla="*/ 257442 h 257442"/>
              <a:gd name="connsiteX2" fmla="*/ 0 w 4140777"/>
              <a:gd name="connsiteY2" fmla="*/ 257442 h 257442"/>
              <a:gd name="connsiteX3" fmla="*/ 54721 w 4140777"/>
              <a:gd name="connsiteY3" fmla="*/ 0 h 257442"/>
              <a:gd name="connsiteX0" fmla="*/ 4140777 w 4140777"/>
              <a:gd name="connsiteY0" fmla="*/ 0 h 257442"/>
              <a:gd name="connsiteX1" fmla="*/ 4086056 w 4140777"/>
              <a:gd name="connsiteY1" fmla="*/ 257442 h 257442"/>
              <a:gd name="connsiteX2" fmla="*/ 0 w 4140777"/>
              <a:gd name="connsiteY2" fmla="*/ 257442 h 257442"/>
              <a:gd name="connsiteX3" fmla="*/ 54721 w 4140777"/>
              <a:gd name="connsiteY3" fmla="*/ 0 h 257442"/>
              <a:gd name="connsiteX0" fmla="*/ 950801 w 4086056"/>
              <a:gd name="connsiteY0" fmla="*/ 0 h 257442"/>
              <a:gd name="connsiteX1" fmla="*/ 4086056 w 4086056"/>
              <a:gd name="connsiteY1" fmla="*/ 257442 h 257442"/>
              <a:gd name="connsiteX2" fmla="*/ 0 w 4086056"/>
              <a:gd name="connsiteY2" fmla="*/ 257442 h 257442"/>
              <a:gd name="connsiteX3" fmla="*/ 54721 w 4086056"/>
              <a:gd name="connsiteY3" fmla="*/ 0 h 257442"/>
              <a:gd name="connsiteX0" fmla="*/ 950801 w 950801"/>
              <a:gd name="connsiteY0" fmla="*/ 0 h 257442"/>
              <a:gd name="connsiteX1" fmla="*/ 896080 w 950801"/>
              <a:gd name="connsiteY1" fmla="*/ 257442 h 257442"/>
              <a:gd name="connsiteX2" fmla="*/ 0 w 950801"/>
              <a:gd name="connsiteY2" fmla="*/ 257442 h 257442"/>
              <a:gd name="connsiteX3" fmla="*/ 54721 w 950801"/>
              <a:gd name="connsiteY3" fmla="*/ 0 h 257442"/>
              <a:gd name="connsiteX0" fmla="*/ 950800 w 950800"/>
              <a:gd name="connsiteY0" fmla="*/ 0 h 257442"/>
              <a:gd name="connsiteX1" fmla="*/ 896079 w 950800"/>
              <a:gd name="connsiteY1" fmla="*/ 257442 h 257442"/>
              <a:gd name="connsiteX2" fmla="*/ 0 w 950800"/>
              <a:gd name="connsiteY2" fmla="*/ 257442 h 257442"/>
              <a:gd name="connsiteX3" fmla="*/ 54720 w 950800"/>
              <a:gd name="connsiteY3" fmla="*/ 0 h 257442"/>
              <a:gd name="connsiteX0" fmla="*/ 950800 w 950800"/>
              <a:gd name="connsiteY0" fmla="*/ 0 h 257442"/>
              <a:gd name="connsiteX1" fmla="*/ 896079 w 950800"/>
              <a:gd name="connsiteY1" fmla="*/ 257442 h 257442"/>
              <a:gd name="connsiteX2" fmla="*/ 0 w 950800"/>
              <a:gd name="connsiteY2" fmla="*/ 257442 h 257442"/>
              <a:gd name="connsiteX3" fmla="*/ 54720 w 950800"/>
              <a:gd name="connsiteY3" fmla="*/ 0 h 257442"/>
              <a:gd name="connsiteX0" fmla="*/ 1119115 w 1119115"/>
              <a:gd name="connsiteY0" fmla="*/ 0 h 257442"/>
              <a:gd name="connsiteX1" fmla="*/ 896079 w 1119115"/>
              <a:gd name="connsiteY1" fmla="*/ 257442 h 257442"/>
              <a:gd name="connsiteX2" fmla="*/ 0 w 1119115"/>
              <a:gd name="connsiteY2" fmla="*/ 257442 h 257442"/>
              <a:gd name="connsiteX3" fmla="*/ 54720 w 1119115"/>
              <a:gd name="connsiteY3" fmla="*/ 0 h 257442"/>
              <a:gd name="connsiteX0" fmla="*/ 1119115 w 1119115"/>
              <a:gd name="connsiteY0" fmla="*/ 0 h 257442"/>
              <a:gd name="connsiteX1" fmla="*/ 1064394 w 1119115"/>
              <a:gd name="connsiteY1" fmla="*/ 257442 h 257442"/>
              <a:gd name="connsiteX2" fmla="*/ 0 w 1119115"/>
              <a:gd name="connsiteY2" fmla="*/ 257442 h 257442"/>
              <a:gd name="connsiteX3" fmla="*/ 54720 w 1119115"/>
              <a:gd name="connsiteY3" fmla="*/ 0 h 257442"/>
              <a:gd name="connsiteX0" fmla="*/ 1119116 w 1119116"/>
              <a:gd name="connsiteY0" fmla="*/ 0 h 257442"/>
              <a:gd name="connsiteX1" fmla="*/ 1064395 w 1119116"/>
              <a:gd name="connsiteY1" fmla="*/ 257442 h 257442"/>
              <a:gd name="connsiteX2" fmla="*/ 0 w 1119116"/>
              <a:gd name="connsiteY2" fmla="*/ 257442 h 257442"/>
              <a:gd name="connsiteX3" fmla="*/ 54721 w 1119116"/>
              <a:gd name="connsiteY3" fmla="*/ 0 h 257442"/>
              <a:gd name="connsiteX0" fmla="*/ 1119116 w 1119116"/>
              <a:gd name="connsiteY0" fmla="*/ 0 h 257442"/>
              <a:gd name="connsiteX1" fmla="*/ 1064395 w 1119116"/>
              <a:gd name="connsiteY1" fmla="*/ 257442 h 257442"/>
              <a:gd name="connsiteX2" fmla="*/ 0 w 1119116"/>
              <a:gd name="connsiteY2" fmla="*/ 257442 h 257442"/>
              <a:gd name="connsiteX3" fmla="*/ 54721 w 1119116"/>
              <a:gd name="connsiteY3" fmla="*/ 0 h 257442"/>
              <a:gd name="connsiteX0" fmla="*/ 1297050 w 1297050"/>
              <a:gd name="connsiteY0" fmla="*/ 0 h 257442"/>
              <a:gd name="connsiteX1" fmla="*/ 1064395 w 1297050"/>
              <a:gd name="connsiteY1" fmla="*/ 257442 h 257442"/>
              <a:gd name="connsiteX2" fmla="*/ 0 w 1297050"/>
              <a:gd name="connsiteY2" fmla="*/ 257442 h 257442"/>
              <a:gd name="connsiteX3" fmla="*/ 54721 w 1297050"/>
              <a:gd name="connsiteY3" fmla="*/ 0 h 257442"/>
              <a:gd name="connsiteX0" fmla="*/ 1297050 w 1297050"/>
              <a:gd name="connsiteY0" fmla="*/ 0 h 257442"/>
              <a:gd name="connsiteX1" fmla="*/ 1242329 w 1297050"/>
              <a:gd name="connsiteY1" fmla="*/ 257442 h 257442"/>
              <a:gd name="connsiteX2" fmla="*/ 0 w 1297050"/>
              <a:gd name="connsiteY2" fmla="*/ 257442 h 257442"/>
              <a:gd name="connsiteX3" fmla="*/ 54721 w 1297050"/>
              <a:gd name="connsiteY3" fmla="*/ 0 h 257442"/>
              <a:gd name="connsiteX0" fmla="*/ 1297050 w 1297050"/>
              <a:gd name="connsiteY0" fmla="*/ 0 h 257442"/>
              <a:gd name="connsiteX1" fmla="*/ 1242329 w 1297050"/>
              <a:gd name="connsiteY1" fmla="*/ 257442 h 257442"/>
              <a:gd name="connsiteX2" fmla="*/ 0 w 1297050"/>
              <a:gd name="connsiteY2" fmla="*/ 257442 h 257442"/>
              <a:gd name="connsiteX3" fmla="*/ 54721 w 1297050"/>
              <a:gd name="connsiteY3" fmla="*/ 0 h 257442"/>
              <a:gd name="connsiteX0" fmla="*/ 1297050 w 1297050"/>
              <a:gd name="connsiteY0" fmla="*/ 0 h 257442"/>
              <a:gd name="connsiteX1" fmla="*/ 1242329 w 1297050"/>
              <a:gd name="connsiteY1" fmla="*/ 257442 h 257442"/>
              <a:gd name="connsiteX2" fmla="*/ 0 w 1297050"/>
              <a:gd name="connsiteY2" fmla="*/ 257442 h 257442"/>
              <a:gd name="connsiteX3" fmla="*/ 54721 w 1297050"/>
              <a:gd name="connsiteY3" fmla="*/ 0 h 257442"/>
              <a:gd name="connsiteX0" fmla="*/ 1575972 w 1575972"/>
              <a:gd name="connsiteY0" fmla="*/ 0 h 257442"/>
              <a:gd name="connsiteX1" fmla="*/ 1242329 w 1575972"/>
              <a:gd name="connsiteY1" fmla="*/ 257442 h 257442"/>
              <a:gd name="connsiteX2" fmla="*/ 0 w 1575972"/>
              <a:gd name="connsiteY2" fmla="*/ 257442 h 257442"/>
              <a:gd name="connsiteX3" fmla="*/ 54721 w 1575972"/>
              <a:gd name="connsiteY3" fmla="*/ 0 h 257442"/>
              <a:gd name="connsiteX0" fmla="*/ 1575972 w 1575972"/>
              <a:gd name="connsiteY0" fmla="*/ 0 h 257442"/>
              <a:gd name="connsiteX1" fmla="*/ 1521251 w 1575972"/>
              <a:gd name="connsiteY1" fmla="*/ 257442 h 257442"/>
              <a:gd name="connsiteX2" fmla="*/ 0 w 1575972"/>
              <a:gd name="connsiteY2" fmla="*/ 257442 h 257442"/>
              <a:gd name="connsiteX3" fmla="*/ 54721 w 1575972"/>
              <a:gd name="connsiteY3" fmla="*/ 0 h 257442"/>
              <a:gd name="connsiteX0" fmla="*/ 1575972 w 1575972"/>
              <a:gd name="connsiteY0" fmla="*/ 0 h 257442"/>
              <a:gd name="connsiteX1" fmla="*/ 1521251 w 1575972"/>
              <a:gd name="connsiteY1" fmla="*/ 257442 h 257442"/>
              <a:gd name="connsiteX2" fmla="*/ 0 w 1575972"/>
              <a:gd name="connsiteY2" fmla="*/ 257442 h 257442"/>
              <a:gd name="connsiteX3" fmla="*/ 54721 w 1575972"/>
              <a:gd name="connsiteY3" fmla="*/ 0 h 257442"/>
              <a:gd name="connsiteX0" fmla="*/ 1575972 w 1575972"/>
              <a:gd name="connsiteY0" fmla="*/ 0 h 257442"/>
              <a:gd name="connsiteX1" fmla="*/ 1521251 w 1575972"/>
              <a:gd name="connsiteY1" fmla="*/ 257442 h 257442"/>
              <a:gd name="connsiteX2" fmla="*/ 0 w 1575972"/>
              <a:gd name="connsiteY2" fmla="*/ 257442 h 257442"/>
              <a:gd name="connsiteX3" fmla="*/ 54721 w 1575972"/>
              <a:gd name="connsiteY3" fmla="*/ 0 h 257442"/>
              <a:gd name="connsiteX0" fmla="*/ 1744287 w 1744287"/>
              <a:gd name="connsiteY0" fmla="*/ 0 h 257442"/>
              <a:gd name="connsiteX1" fmla="*/ 1521251 w 1744287"/>
              <a:gd name="connsiteY1" fmla="*/ 257442 h 257442"/>
              <a:gd name="connsiteX2" fmla="*/ 0 w 1744287"/>
              <a:gd name="connsiteY2" fmla="*/ 257442 h 257442"/>
              <a:gd name="connsiteX3" fmla="*/ 54721 w 1744287"/>
              <a:gd name="connsiteY3" fmla="*/ 0 h 257442"/>
              <a:gd name="connsiteX0" fmla="*/ 1744287 w 1744287"/>
              <a:gd name="connsiteY0" fmla="*/ 0 h 257442"/>
              <a:gd name="connsiteX1" fmla="*/ 1689566 w 1744287"/>
              <a:gd name="connsiteY1" fmla="*/ 257442 h 257442"/>
              <a:gd name="connsiteX2" fmla="*/ 0 w 1744287"/>
              <a:gd name="connsiteY2" fmla="*/ 257442 h 257442"/>
              <a:gd name="connsiteX3" fmla="*/ 54721 w 1744287"/>
              <a:gd name="connsiteY3" fmla="*/ 0 h 257442"/>
              <a:gd name="connsiteX0" fmla="*/ 1744287 w 1744287"/>
              <a:gd name="connsiteY0" fmla="*/ 0 h 257442"/>
              <a:gd name="connsiteX1" fmla="*/ 1689566 w 1744287"/>
              <a:gd name="connsiteY1" fmla="*/ 257442 h 257442"/>
              <a:gd name="connsiteX2" fmla="*/ 0 w 1744287"/>
              <a:gd name="connsiteY2" fmla="*/ 257442 h 257442"/>
              <a:gd name="connsiteX3" fmla="*/ 54721 w 1744287"/>
              <a:gd name="connsiteY3" fmla="*/ 0 h 257442"/>
              <a:gd name="connsiteX0" fmla="*/ 1744287 w 1744287"/>
              <a:gd name="connsiteY0" fmla="*/ 0 h 257442"/>
              <a:gd name="connsiteX1" fmla="*/ 1689566 w 1744287"/>
              <a:gd name="connsiteY1" fmla="*/ 257442 h 257442"/>
              <a:gd name="connsiteX2" fmla="*/ 0 w 1744287"/>
              <a:gd name="connsiteY2" fmla="*/ 257442 h 257442"/>
              <a:gd name="connsiteX3" fmla="*/ 54721 w 1744287"/>
              <a:gd name="connsiteY3" fmla="*/ 0 h 257442"/>
              <a:gd name="connsiteX0" fmla="*/ 1946265 w 1946265"/>
              <a:gd name="connsiteY0" fmla="*/ 0 h 257442"/>
              <a:gd name="connsiteX1" fmla="*/ 1689566 w 1946265"/>
              <a:gd name="connsiteY1" fmla="*/ 257442 h 257442"/>
              <a:gd name="connsiteX2" fmla="*/ 0 w 1946265"/>
              <a:gd name="connsiteY2" fmla="*/ 257442 h 257442"/>
              <a:gd name="connsiteX3" fmla="*/ 54721 w 1946265"/>
              <a:gd name="connsiteY3" fmla="*/ 0 h 257442"/>
              <a:gd name="connsiteX0" fmla="*/ 1946265 w 1946265"/>
              <a:gd name="connsiteY0" fmla="*/ 0 h 257442"/>
              <a:gd name="connsiteX1" fmla="*/ 1891544 w 1946265"/>
              <a:gd name="connsiteY1" fmla="*/ 257442 h 257442"/>
              <a:gd name="connsiteX2" fmla="*/ 0 w 1946265"/>
              <a:gd name="connsiteY2" fmla="*/ 257442 h 257442"/>
              <a:gd name="connsiteX3" fmla="*/ 54721 w 1946265"/>
              <a:gd name="connsiteY3" fmla="*/ 0 h 257442"/>
              <a:gd name="connsiteX0" fmla="*/ 1946265 w 1946265"/>
              <a:gd name="connsiteY0" fmla="*/ 0 h 257442"/>
              <a:gd name="connsiteX1" fmla="*/ 1891544 w 1946265"/>
              <a:gd name="connsiteY1" fmla="*/ 257442 h 257442"/>
              <a:gd name="connsiteX2" fmla="*/ 0 w 1946265"/>
              <a:gd name="connsiteY2" fmla="*/ 257442 h 257442"/>
              <a:gd name="connsiteX3" fmla="*/ 54721 w 1946265"/>
              <a:gd name="connsiteY3" fmla="*/ 0 h 257442"/>
              <a:gd name="connsiteX0" fmla="*/ 1946265 w 1946265"/>
              <a:gd name="connsiteY0" fmla="*/ 0 h 257442"/>
              <a:gd name="connsiteX1" fmla="*/ 1891544 w 1946265"/>
              <a:gd name="connsiteY1" fmla="*/ 257442 h 257442"/>
              <a:gd name="connsiteX2" fmla="*/ 0 w 1946265"/>
              <a:gd name="connsiteY2" fmla="*/ 257442 h 257442"/>
              <a:gd name="connsiteX3" fmla="*/ 54721 w 1946265"/>
              <a:gd name="connsiteY3" fmla="*/ 0 h 257442"/>
              <a:gd name="connsiteX0" fmla="*/ 2106566 w 2106566"/>
              <a:gd name="connsiteY0" fmla="*/ 0 h 257442"/>
              <a:gd name="connsiteX1" fmla="*/ 1891544 w 2106566"/>
              <a:gd name="connsiteY1" fmla="*/ 257442 h 257442"/>
              <a:gd name="connsiteX2" fmla="*/ 0 w 2106566"/>
              <a:gd name="connsiteY2" fmla="*/ 257442 h 257442"/>
              <a:gd name="connsiteX3" fmla="*/ 54721 w 2106566"/>
              <a:gd name="connsiteY3" fmla="*/ 0 h 257442"/>
              <a:gd name="connsiteX0" fmla="*/ 2106566 w 2106566"/>
              <a:gd name="connsiteY0" fmla="*/ 0 h 257442"/>
              <a:gd name="connsiteX1" fmla="*/ 2051844 w 2106566"/>
              <a:gd name="connsiteY1" fmla="*/ 257442 h 257442"/>
              <a:gd name="connsiteX2" fmla="*/ 0 w 2106566"/>
              <a:gd name="connsiteY2" fmla="*/ 257442 h 257442"/>
              <a:gd name="connsiteX3" fmla="*/ 54721 w 2106566"/>
              <a:gd name="connsiteY3" fmla="*/ 0 h 257442"/>
              <a:gd name="connsiteX0" fmla="*/ 2106567 w 2106567"/>
              <a:gd name="connsiteY0" fmla="*/ 0 h 257442"/>
              <a:gd name="connsiteX1" fmla="*/ 2051845 w 2106567"/>
              <a:gd name="connsiteY1" fmla="*/ 257442 h 257442"/>
              <a:gd name="connsiteX2" fmla="*/ 0 w 2106567"/>
              <a:gd name="connsiteY2" fmla="*/ 257442 h 257442"/>
              <a:gd name="connsiteX3" fmla="*/ 54722 w 2106567"/>
              <a:gd name="connsiteY3" fmla="*/ 0 h 257442"/>
              <a:gd name="connsiteX0" fmla="*/ 2106567 w 2106567"/>
              <a:gd name="connsiteY0" fmla="*/ 0 h 257442"/>
              <a:gd name="connsiteX1" fmla="*/ 2051845 w 2106567"/>
              <a:gd name="connsiteY1" fmla="*/ 257442 h 257442"/>
              <a:gd name="connsiteX2" fmla="*/ 0 w 2106567"/>
              <a:gd name="connsiteY2" fmla="*/ 257442 h 257442"/>
              <a:gd name="connsiteX3" fmla="*/ 54722 w 2106567"/>
              <a:gd name="connsiteY3" fmla="*/ 0 h 257442"/>
              <a:gd name="connsiteX0" fmla="*/ 2266867 w 2266867"/>
              <a:gd name="connsiteY0" fmla="*/ 0 h 257442"/>
              <a:gd name="connsiteX1" fmla="*/ 2051845 w 2266867"/>
              <a:gd name="connsiteY1" fmla="*/ 257442 h 257442"/>
              <a:gd name="connsiteX2" fmla="*/ 0 w 2266867"/>
              <a:gd name="connsiteY2" fmla="*/ 257442 h 257442"/>
              <a:gd name="connsiteX3" fmla="*/ 54722 w 2266867"/>
              <a:gd name="connsiteY3" fmla="*/ 0 h 257442"/>
              <a:gd name="connsiteX0" fmla="*/ 2266867 w 2266867"/>
              <a:gd name="connsiteY0" fmla="*/ 0 h 257442"/>
              <a:gd name="connsiteX1" fmla="*/ 2212146 w 2266867"/>
              <a:gd name="connsiteY1" fmla="*/ 257442 h 257442"/>
              <a:gd name="connsiteX2" fmla="*/ 0 w 2266867"/>
              <a:gd name="connsiteY2" fmla="*/ 257442 h 257442"/>
              <a:gd name="connsiteX3" fmla="*/ 54722 w 2266867"/>
              <a:gd name="connsiteY3" fmla="*/ 0 h 257442"/>
              <a:gd name="connsiteX0" fmla="*/ 2266866 w 2266866"/>
              <a:gd name="connsiteY0" fmla="*/ 0 h 257442"/>
              <a:gd name="connsiteX1" fmla="*/ 2212145 w 2266866"/>
              <a:gd name="connsiteY1" fmla="*/ 257442 h 257442"/>
              <a:gd name="connsiteX2" fmla="*/ 0 w 2266866"/>
              <a:gd name="connsiteY2" fmla="*/ 257442 h 257442"/>
              <a:gd name="connsiteX3" fmla="*/ 54721 w 2266866"/>
              <a:gd name="connsiteY3" fmla="*/ 0 h 257442"/>
              <a:gd name="connsiteX0" fmla="*/ 2266866 w 2266866"/>
              <a:gd name="connsiteY0" fmla="*/ 0 h 257442"/>
              <a:gd name="connsiteX1" fmla="*/ 2212145 w 2266866"/>
              <a:gd name="connsiteY1" fmla="*/ 257442 h 257442"/>
              <a:gd name="connsiteX2" fmla="*/ 0 w 2266866"/>
              <a:gd name="connsiteY2" fmla="*/ 257442 h 257442"/>
              <a:gd name="connsiteX3" fmla="*/ 54720 w 2266866"/>
              <a:gd name="connsiteY3" fmla="*/ 0 h 257442"/>
              <a:gd name="connsiteX0" fmla="*/ 2435181 w 2435181"/>
              <a:gd name="connsiteY0" fmla="*/ 0 h 257442"/>
              <a:gd name="connsiteX1" fmla="*/ 2212145 w 2435181"/>
              <a:gd name="connsiteY1" fmla="*/ 257442 h 257442"/>
              <a:gd name="connsiteX2" fmla="*/ 0 w 2435181"/>
              <a:gd name="connsiteY2" fmla="*/ 257442 h 257442"/>
              <a:gd name="connsiteX3" fmla="*/ 54720 w 2435181"/>
              <a:gd name="connsiteY3" fmla="*/ 0 h 257442"/>
              <a:gd name="connsiteX0" fmla="*/ 2435181 w 2435181"/>
              <a:gd name="connsiteY0" fmla="*/ 0 h 257442"/>
              <a:gd name="connsiteX1" fmla="*/ 2380460 w 2435181"/>
              <a:gd name="connsiteY1" fmla="*/ 257442 h 257442"/>
              <a:gd name="connsiteX2" fmla="*/ 0 w 2435181"/>
              <a:gd name="connsiteY2" fmla="*/ 257442 h 257442"/>
              <a:gd name="connsiteX3" fmla="*/ 54720 w 2435181"/>
              <a:gd name="connsiteY3" fmla="*/ 0 h 257442"/>
              <a:gd name="connsiteX0" fmla="*/ 2435182 w 2435182"/>
              <a:gd name="connsiteY0" fmla="*/ 0 h 257442"/>
              <a:gd name="connsiteX1" fmla="*/ 2380461 w 2435182"/>
              <a:gd name="connsiteY1" fmla="*/ 257442 h 257442"/>
              <a:gd name="connsiteX2" fmla="*/ 0 w 2435182"/>
              <a:gd name="connsiteY2" fmla="*/ 257442 h 257442"/>
              <a:gd name="connsiteX3" fmla="*/ 54721 w 2435182"/>
              <a:gd name="connsiteY3" fmla="*/ 0 h 257442"/>
              <a:gd name="connsiteX0" fmla="*/ 2435182 w 2435182"/>
              <a:gd name="connsiteY0" fmla="*/ 0 h 257442"/>
              <a:gd name="connsiteX1" fmla="*/ 2380461 w 2435182"/>
              <a:gd name="connsiteY1" fmla="*/ 257442 h 257442"/>
              <a:gd name="connsiteX2" fmla="*/ 0 w 2435182"/>
              <a:gd name="connsiteY2" fmla="*/ 257442 h 257442"/>
              <a:gd name="connsiteX3" fmla="*/ 54721 w 2435182"/>
              <a:gd name="connsiteY3" fmla="*/ 0 h 257442"/>
              <a:gd name="connsiteX0" fmla="*/ 2266866 w 2380461"/>
              <a:gd name="connsiteY0" fmla="*/ 0 h 257442"/>
              <a:gd name="connsiteX1" fmla="*/ 2380461 w 2380461"/>
              <a:gd name="connsiteY1" fmla="*/ 257442 h 257442"/>
              <a:gd name="connsiteX2" fmla="*/ 0 w 2380461"/>
              <a:gd name="connsiteY2" fmla="*/ 257442 h 257442"/>
              <a:gd name="connsiteX3" fmla="*/ 54721 w 2380461"/>
              <a:gd name="connsiteY3" fmla="*/ 0 h 257442"/>
              <a:gd name="connsiteX0" fmla="*/ 2266866 w 2266866"/>
              <a:gd name="connsiteY0" fmla="*/ 0 h 257442"/>
              <a:gd name="connsiteX1" fmla="*/ 2212146 w 2266866"/>
              <a:gd name="connsiteY1" fmla="*/ 257442 h 257442"/>
              <a:gd name="connsiteX2" fmla="*/ 0 w 2266866"/>
              <a:gd name="connsiteY2" fmla="*/ 257442 h 257442"/>
              <a:gd name="connsiteX3" fmla="*/ 54721 w 2266866"/>
              <a:gd name="connsiteY3" fmla="*/ 0 h 257442"/>
              <a:gd name="connsiteX0" fmla="*/ 2266865 w 2266865"/>
              <a:gd name="connsiteY0" fmla="*/ 0 h 257442"/>
              <a:gd name="connsiteX1" fmla="*/ 2212145 w 2266865"/>
              <a:gd name="connsiteY1" fmla="*/ 257442 h 257442"/>
              <a:gd name="connsiteX2" fmla="*/ 0 w 2266865"/>
              <a:gd name="connsiteY2" fmla="*/ 257442 h 257442"/>
              <a:gd name="connsiteX3" fmla="*/ 54720 w 2266865"/>
              <a:gd name="connsiteY3" fmla="*/ 0 h 257442"/>
              <a:gd name="connsiteX0" fmla="*/ 2266865 w 2266865"/>
              <a:gd name="connsiteY0" fmla="*/ 0 h 257442"/>
              <a:gd name="connsiteX1" fmla="*/ 2212145 w 2266865"/>
              <a:gd name="connsiteY1" fmla="*/ 257442 h 257442"/>
              <a:gd name="connsiteX2" fmla="*/ 0 w 2266865"/>
              <a:gd name="connsiteY2" fmla="*/ 257442 h 257442"/>
              <a:gd name="connsiteX3" fmla="*/ 54721 w 2266865"/>
              <a:gd name="connsiteY3" fmla="*/ 0 h 257442"/>
              <a:gd name="connsiteX0" fmla="*/ 2106566 w 2212145"/>
              <a:gd name="connsiteY0" fmla="*/ 0 h 257442"/>
              <a:gd name="connsiteX1" fmla="*/ 2212145 w 2212145"/>
              <a:gd name="connsiteY1" fmla="*/ 257442 h 257442"/>
              <a:gd name="connsiteX2" fmla="*/ 0 w 2212145"/>
              <a:gd name="connsiteY2" fmla="*/ 257442 h 257442"/>
              <a:gd name="connsiteX3" fmla="*/ 54721 w 2212145"/>
              <a:gd name="connsiteY3" fmla="*/ 0 h 257442"/>
              <a:gd name="connsiteX0" fmla="*/ 2106566 w 2106566"/>
              <a:gd name="connsiteY0" fmla="*/ 0 h 257442"/>
              <a:gd name="connsiteX1" fmla="*/ 2051845 w 2106566"/>
              <a:gd name="connsiteY1" fmla="*/ 257442 h 257442"/>
              <a:gd name="connsiteX2" fmla="*/ 0 w 2106566"/>
              <a:gd name="connsiteY2" fmla="*/ 257442 h 257442"/>
              <a:gd name="connsiteX3" fmla="*/ 54721 w 2106566"/>
              <a:gd name="connsiteY3" fmla="*/ 0 h 257442"/>
              <a:gd name="connsiteX0" fmla="*/ 2106566 w 2106566"/>
              <a:gd name="connsiteY0" fmla="*/ 0 h 257442"/>
              <a:gd name="connsiteX1" fmla="*/ 2051845 w 2106566"/>
              <a:gd name="connsiteY1" fmla="*/ 257442 h 257442"/>
              <a:gd name="connsiteX2" fmla="*/ 0 w 2106566"/>
              <a:gd name="connsiteY2" fmla="*/ 257442 h 257442"/>
              <a:gd name="connsiteX3" fmla="*/ 54721 w 2106566"/>
              <a:gd name="connsiteY3" fmla="*/ 0 h 257442"/>
              <a:gd name="connsiteX0" fmla="*/ 2106566 w 2106566"/>
              <a:gd name="connsiteY0" fmla="*/ 0 h 257442"/>
              <a:gd name="connsiteX1" fmla="*/ 2051845 w 2106566"/>
              <a:gd name="connsiteY1" fmla="*/ 257442 h 257442"/>
              <a:gd name="connsiteX2" fmla="*/ 0 w 2106566"/>
              <a:gd name="connsiteY2" fmla="*/ 257442 h 257442"/>
              <a:gd name="connsiteX3" fmla="*/ 54721 w 2106566"/>
              <a:gd name="connsiteY3" fmla="*/ 0 h 257442"/>
              <a:gd name="connsiteX0" fmla="*/ 1946265 w 2051845"/>
              <a:gd name="connsiteY0" fmla="*/ 0 h 257442"/>
              <a:gd name="connsiteX1" fmla="*/ 2051845 w 2051845"/>
              <a:gd name="connsiteY1" fmla="*/ 257442 h 257442"/>
              <a:gd name="connsiteX2" fmla="*/ 0 w 2051845"/>
              <a:gd name="connsiteY2" fmla="*/ 257442 h 257442"/>
              <a:gd name="connsiteX3" fmla="*/ 54721 w 2051845"/>
              <a:gd name="connsiteY3" fmla="*/ 0 h 257442"/>
              <a:gd name="connsiteX0" fmla="*/ 1946265 w 1946265"/>
              <a:gd name="connsiteY0" fmla="*/ 0 h 257442"/>
              <a:gd name="connsiteX1" fmla="*/ 1891545 w 1946265"/>
              <a:gd name="connsiteY1" fmla="*/ 257442 h 257442"/>
              <a:gd name="connsiteX2" fmla="*/ 0 w 1946265"/>
              <a:gd name="connsiteY2" fmla="*/ 257442 h 257442"/>
              <a:gd name="connsiteX3" fmla="*/ 54721 w 1946265"/>
              <a:gd name="connsiteY3" fmla="*/ 0 h 257442"/>
              <a:gd name="connsiteX0" fmla="*/ 1946264 w 1946264"/>
              <a:gd name="connsiteY0" fmla="*/ 0 h 257442"/>
              <a:gd name="connsiteX1" fmla="*/ 1891544 w 1946264"/>
              <a:gd name="connsiteY1" fmla="*/ 257442 h 257442"/>
              <a:gd name="connsiteX2" fmla="*/ 0 w 1946264"/>
              <a:gd name="connsiteY2" fmla="*/ 257442 h 257442"/>
              <a:gd name="connsiteX3" fmla="*/ 54720 w 1946264"/>
              <a:gd name="connsiteY3" fmla="*/ 0 h 257442"/>
              <a:gd name="connsiteX0" fmla="*/ 1946264 w 1946264"/>
              <a:gd name="connsiteY0" fmla="*/ 0 h 257442"/>
              <a:gd name="connsiteX1" fmla="*/ 1891544 w 1946264"/>
              <a:gd name="connsiteY1" fmla="*/ 257442 h 257442"/>
              <a:gd name="connsiteX2" fmla="*/ 0 w 1946264"/>
              <a:gd name="connsiteY2" fmla="*/ 257442 h 257442"/>
              <a:gd name="connsiteX3" fmla="*/ 54720 w 1946264"/>
              <a:gd name="connsiteY3" fmla="*/ 0 h 257442"/>
              <a:gd name="connsiteX0" fmla="*/ 2114580 w 2114580"/>
              <a:gd name="connsiteY0" fmla="*/ 0 h 257442"/>
              <a:gd name="connsiteX1" fmla="*/ 1891544 w 2114580"/>
              <a:gd name="connsiteY1" fmla="*/ 257442 h 257442"/>
              <a:gd name="connsiteX2" fmla="*/ 0 w 2114580"/>
              <a:gd name="connsiteY2" fmla="*/ 257442 h 257442"/>
              <a:gd name="connsiteX3" fmla="*/ 54720 w 2114580"/>
              <a:gd name="connsiteY3" fmla="*/ 0 h 257442"/>
              <a:gd name="connsiteX0" fmla="*/ 2114580 w 2114580"/>
              <a:gd name="connsiteY0" fmla="*/ 0 h 257442"/>
              <a:gd name="connsiteX1" fmla="*/ 2059859 w 2114580"/>
              <a:gd name="connsiteY1" fmla="*/ 257442 h 257442"/>
              <a:gd name="connsiteX2" fmla="*/ 0 w 2114580"/>
              <a:gd name="connsiteY2" fmla="*/ 257442 h 257442"/>
              <a:gd name="connsiteX3" fmla="*/ 54720 w 2114580"/>
              <a:gd name="connsiteY3" fmla="*/ 0 h 257442"/>
              <a:gd name="connsiteX0" fmla="*/ 2114581 w 2114581"/>
              <a:gd name="connsiteY0" fmla="*/ 0 h 257442"/>
              <a:gd name="connsiteX1" fmla="*/ 2059860 w 2114581"/>
              <a:gd name="connsiteY1" fmla="*/ 257442 h 257442"/>
              <a:gd name="connsiteX2" fmla="*/ 0 w 2114581"/>
              <a:gd name="connsiteY2" fmla="*/ 257442 h 257442"/>
              <a:gd name="connsiteX3" fmla="*/ 54721 w 2114581"/>
              <a:gd name="connsiteY3" fmla="*/ 0 h 257442"/>
              <a:gd name="connsiteX0" fmla="*/ 2114581 w 2114581"/>
              <a:gd name="connsiteY0" fmla="*/ 0 h 257442"/>
              <a:gd name="connsiteX1" fmla="*/ 2059860 w 2114581"/>
              <a:gd name="connsiteY1" fmla="*/ 257442 h 257442"/>
              <a:gd name="connsiteX2" fmla="*/ 0 w 2114581"/>
              <a:gd name="connsiteY2" fmla="*/ 257442 h 257442"/>
              <a:gd name="connsiteX3" fmla="*/ 54722 w 2114581"/>
              <a:gd name="connsiteY3" fmla="*/ 0 h 257442"/>
              <a:gd name="connsiteX0" fmla="*/ 2274883 w 2274883"/>
              <a:gd name="connsiteY0" fmla="*/ 0 h 257442"/>
              <a:gd name="connsiteX1" fmla="*/ 2059860 w 2274883"/>
              <a:gd name="connsiteY1" fmla="*/ 257442 h 257442"/>
              <a:gd name="connsiteX2" fmla="*/ 0 w 2274883"/>
              <a:gd name="connsiteY2" fmla="*/ 257442 h 257442"/>
              <a:gd name="connsiteX3" fmla="*/ 54722 w 2274883"/>
              <a:gd name="connsiteY3" fmla="*/ 0 h 257442"/>
              <a:gd name="connsiteX0" fmla="*/ 2274883 w 2274883"/>
              <a:gd name="connsiteY0" fmla="*/ 0 h 257442"/>
              <a:gd name="connsiteX1" fmla="*/ 2220162 w 2274883"/>
              <a:gd name="connsiteY1" fmla="*/ 257442 h 257442"/>
              <a:gd name="connsiteX2" fmla="*/ 0 w 2274883"/>
              <a:gd name="connsiteY2" fmla="*/ 257442 h 257442"/>
              <a:gd name="connsiteX3" fmla="*/ 54722 w 2274883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1 w 2274882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0 w 2274882"/>
              <a:gd name="connsiteY3" fmla="*/ 0 h 257442"/>
              <a:gd name="connsiteX0" fmla="*/ 2579451 w 2579451"/>
              <a:gd name="connsiteY0" fmla="*/ 0 h 257442"/>
              <a:gd name="connsiteX1" fmla="*/ 2220161 w 2579451"/>
              <a:gd name="connsiteY1" fmla="*/ 257442 h 257442"/>
              <a:gd name="connsiteX2" fmla="*/ 0 w 2579451"/>
              <a:gd name="connsiteY2" fmla="*/ 257442 h 257442"/>
              <a:gd name="connsiteX3" fmla="*/ 54720 w 2579451"/>
              <a:gd name="connsiteY3" fmla="*/ 0 h 257442"/>
              <a:gd name="connsiteX0" fmla="*/ 2579451 w 2579451"/>
              <a:gd name="connsiteY0" fmla="*/ 0 h 257442"/>
              <a:gd name="connsiteX1" fmla="*/ 2524730 w 2579451"/>
              <a:gd name="connsiteY1" fmla="*/ 257442 h 257442"/>
              <a:gd name="connsiteX2" fmla="*/ 0 w 2579451"/>
              <a:gd name="connsiteY2" fmla="*/ 257442 h 257442"/>
              <a:gd name="connsiteX3" fmla="*/ 54720 w 2579451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772967 w 2772967"/>
              <a:gd name="connsiteY0" fmla="*/ 0 h 257442"/>
              <a:gd name="connsiteX1" fmla="*/ 2524731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772967 w 2772967"/>
              <a:gd name="connsiteY0" fmla="*/ 0 h 257442"/>
              <a:gd name="connsiteX1" fmla="*/ 2718246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772967 w 2772967"/>
              <a:gd name="connsiteY0" fmla="*/ 0 h 257442"/>
              <a:gd name="connsiteX1" fmla="*/ 2718246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772967 w 2772967"/>
              <a:gd name="connsiteY0" fmla="*/ 0 h 257442"/>
              <a:gd name="connsiteX1" fmla="*/ 2718246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958915 w 2958915"/>
              <a:gd name="connsiteY0" fmla="*/ 0 h 257442"/>
              <a:gd name="connsiteX1" fmla="*/ 2718246 w 2958915"/>
              <a:gd name="connsiteY1" fmla="*/ 257442 h 257442"/>
              <a:gd name="connsiteX2" fmla="*/ 0 w 2958915"/>
              <a:gd name="connsiteY2" fmla="*/ 257442 h 257442"/>
              <a:gd name="connsiteX3" fmla="*/ 54721 w 2958915"/>
              <a:gd name="connsiteY3" fmla="*/ 0 h 257442"/>
              <a:gd name="connsiteX0" fmla="*/ 2958915 w 2958915"/>
              <a:gd name="connsiteY0" fmla="*/ 0 h 257442"/>
              <a:gd name="connsiteX1" fmla="*/ 2904194 w 2958915"/>
              <a:gd name="connsiteY1" fmla="*/ 257442 h 257442"/>
              <a:gd name="connsiteX2" fmla="*/ 0 w 2958915"/>
              <a:gd name="connsiteY2" fmla="*/ 257442 h 257442"/>
              <a:gd name="connsiteX3" fmla="*/ 54721 w 2958915"/>
              <a:gd name="connsiteY3" fmla="*/ 0 h 257442"/>
              <a:gd name="connsiteX0" fmla="*/ 2958915 w 2958915"/>
              <a:gd name="connsiteY0" fmla="*/ 0 h 257442"/>
              <a:gd name="connsiteX1" fmla="*/ 2904194 w 2958915"/>
              <a:gd name="connsiteY1" fmla="*/ 257442 h 257442"/>
              <a:gd name="connsiteX2" fmla="*/ 0 w 2958915"/>
              <a:gd name="connsiteY2" fmla="*/ 257442 h 257442"/>
              <a:gd name="connsiteX3" fmla="*/ 54721 w 2958915"/>
              <a:gd name="connsiteY3" fmla="*/ 0 h 257442"/>
              <a:gd name="connsiteX0" fmla="*/ 2958915 w 2958915"/>
              <a:gd name="connsiteY0" fmla="*/ 0 h 257442"/>
              <a:gd name="connsiteX1" fmla="*/ 2904194 w 2958915"/>
              <a:gd name="connsiteY1" fmla="*/ 257442 h 257442"/>
              <a:gd name="connsiteX2" fmla="*/ 0 w 2958915"/>
              <a:gd name="connsiteY2" fmla="*/ 257442 h 257442"/>
              <a:gd name="connsiteX3" fmla="*/ 54721 w 2958915"/>
              <a:gd name="connsiteY3" fmla="*/ 0 h 257442"/>
              <a:gd name="connsiteX0" fmla="*/ 3144863 w 3144863"/>
              <a:gd name="connsiteY0" fmla="*/ 0 h 257442"/>
              <a:gd name="connsiteX1" fmla="*/ 2904194 w 3144863"/>
              <a:gd name="connsiteY1" fmla="*/ 257442 h 257442"/>
              <a:gd name="connsiteX2" fmla="*/ 0 w 3144863"/>
              <a:gd name="connsiteY2" fmla="*/ 257442 h 257442"/>
              <a:gd name="connsiteX3" fmla="*/ 54721 w 3144863"/>
              <a:gd name="connsiteY3" fmla="*/ 0 h 257442"/>
              <a:gd name="connsiteX0" fmla="*/ 3144863 w 3144863"/>
              <a:gd name="connsiteY0" fmla="*/ 0 h 257442"/>
              <a:gd name="connsiteX1" fmla="*/ 3090142 w 3144863"/>
              <a:gd name="connsiteY1" fmla="*/ 257442 h 257442"/>
              <a:gd name="connsiteX2" fmla="*/ 0 w 3144863"/>
              <a:gd name="connsiteY2" fmla="*/ 257442 h 257442"/>
              <a:gd name="connsiteX3" fmla="*/ 54721 w 3144863"/>
              <a:gd name="connsiteY3" fmla="*/ 0 h 257442"/>
              <a:gd name="connsiteX0" fmla="*/ 3144863 w 3144863"/>
              <a:gd name="connsiteY0" fmla="*/ 0 h 257442"/>
              <a:gd name="connsiteX1" fmla="*/ 3090142 w 3144863"/>
              <a:gd name="connsiteY1" fmla="*/ 257442 h 257442"/>
              <a:gd name="connsiteX2" fmla="*/ 0 w 3144863"/>
              <a:gd name="connsiteY2" fmla="*/ 257442 h 257442"/>
              <a:gd name="connsiteX3" fmla="*/ 54721 w 3144863"/>
              <a:gd name="connsiteY3" fmla="*/ 0 h 257442"/>
              <a:gd name="connsiteX0" fmla="*/ 3144863 w 3144863"/>
              <a:gd name="connsiteY0" fmla="*/ 0 h 257442"/>
              <a:gd name="connsiteX1" fmla="*/ 3090142 w 3144863"/>
              <a:gd name="connsiteY1" fmla="*/ 257442 h 257442"/>
              <a:gd name="connsiteX2" fmla="*/ 0 w 3144863"/>
              <a:gd name="connsiteY2" fmla="*/ 257442 h 257442"/>
              <a:gd name="connsiteX3" fmla="*/ 54721 w 3144863"/>
              <a:gd name="connsiteY3" fmla="*/ 0 h 257442"/>
              <a:gd name="connsiteX0" fmla="*/ 3313178 w 3313178"/>
              <a:gd name="connsiteY0" fmla="*/ 0 h 257442"/>
              <a:gd name="connsiteX1" fmla="*/ 3090142 w 3313178"/>
              <a:gd name="connsiteY1" fmla="*/ 257442 h 257442"/>
              <a:gd name="connsiteX2" fmla="*/ 0 w 3313178"/>
              <a:gd name="connsiteY2" fmla="*/ 257442 h 257442"/>
              <a:gd name="connsiteX3" fmla="*/ 54721 w 3313178"/>
              <a:gd name="connsiteY3" fmla="*/ 0 h 257442"/>
              <a:gd name="connsiteX0" fmla="*/ 3313178 w 3313178"/>
              <a:gd name="connsiteY0" fmla="*/ 0 h 257442"/>
              <a:gd name="connsiteX1" fmla="*/ 3258456 w 3313178"/>
              <a:gd name="connsiteY1" fmla="*/ 257442 h 257442"/>
              <a:gd name="connsiteX2" fmla="*/ 0 w 3313178"/>
              <a:gd name="connsiteY2" fmla="*/ 257442 h 257442"/>
              <a:gd name="connsiteX3" fmla="*/ 54721 w 3313178"/>
              <a:gd name="connsiteY3" fmla="*/ 0 h 257442"/>
              <a:gd name="connsiteX0" fmla="*/ 3313179 w 3313179"/>
              <a:gd name="connsiteY0" fmla="*/ 0 h 257442"/>
              <a:gd name="connsiteX1" fmla="*/ 3258457 w 3313179"/>
              <a:gd name="connsiteY1" fmla="*/ 257442 h 257442"/>
              <a:gd name="connsiteX2" fmla="*/ 0 w 3313179"/>
              <a:gd name="connsiteY2" fmla="*/ 257442 h 257442"/>
              <a:gd name="connsiteX3" fmla="*/ 54722 w 3313179"/>
              <a:gd name="connsiteY3" fmla="*/ 0 h 257442"/>
              <a:gd name="connsiteX0" fmla="*/ 3313179 w 3313179"/>
              <a:gd name="connsiteY0" fmla="*/ 0 h 257442"/>
              <a:gd name="connsiteX1" fmla="*/ 3258457 w 3313179"/>
              <a:gd name="connsiteY1" fmla="*/ 257442 h 257442"/>
              <a:gd name="connsiteX2" fmla="*/ 0 w 3313179"/>
              <a:gd name="connsiteY2" fmla="*/ 257442 h 257442"/>
              <a:gd name="connsiteX3" fmla="*/ 54722 w 3313179"/>
              <a:gd name="connsiteY3" fmla="*/ 0 h 257442"/>
              <a:gd name="connsiteX0" fmla="*/ 3622365 w 3622365"/>
              <a:gd name="connsiteY0" fmla="*/ 0 h 257442"/>
              <a:gd name="connsiteX1" fmla="*/ 3258457 w 3622365"/>
              <a:gd name="connsiteY1" fmla="*/ 257442 h 257442"/>
              <a:gd name="connsiteX2" fmla="*/ 0 w 3622365"/>
              <a:gd name="connsiteY2" fmla="*/ 257442 h 257442"/>
              <a:gd name="connsiteX3" fmla="*/ 54722 w 3622365"/>
              <a:gd name="connsiteY3" fmla="*/ 0 h 257442"/>
              <a:gd name="connsiteX0" fmla="*/ 3622365 w 3622365"/>
              <a:gd name="connsiteY0" fmla="*/ 0 h 257442"/>
              <a:gd name="connsiteX1" fmla="*/ 3567645 w 3622365"/>
              <a:gd name="connsiteY1" fmla="*/ 257442 h 257442"/>
              <a:gd name="connsiteX2" fmla="*/ 0 w 3622365"/>
              <a:gd name="connsiteY2" fmla="*/ 257442 h 257442"/>
              <a:gd name="connsiteX3" fmla="*/ 54722 w 3622365"/>
              <a:gd name="connsiteY3" fmla="*/ 0 h 257442"/>
              <a:gd name="connsiteX0" fmla="*/ 3622364 w 3622364"/>
              <a:gd name="connsiteY0" fmla="*/ 0 h 257442"/>
              <a:gd name="connsiteX1" fmla="*/ 3567644 w 3622364"/>
              <a:gd name="connsiteY1" fmla="*/ 257442 h 257442"/>
              <a:gd name="connsiteX2" fmla="*/ 0 w 3622364"/>
              <a:gd name="connsiteY2" fmla="*/ 257442 h 257442"/>
              <a:gd name="connsiteX3" fmla="*/ 54721 w 3622364"/>
              <a:gd name="connsiteY3" fmla="*/ 0 h 257442"/>
              <a:gd name="connsiteX0" fmla="*/ 3622364 w 3622364"/>
              <a:gd name="connsiteY0" fmla="*/ 0 h 257442"/>
              <a:gd name="connsiteX1" fmla="*/ 3567644 w 3622364"/>
              <a:gd name="connsiteY1" fmla="*/ 257442 h 257442"/>
              <a:gd name="connsiteX2" fmla="*/ 0 w 3622364"/>
              <a:gd name="connsiteY2" fmla="*/ 257442 h 257442"/>
              <a:gd name="connsiteX3" fmla="*/ 54720 w 3622364"/>
              <a:gd name="connsiteY3" fmla="*/ 0 h 257442"/>
              <a:gd name="connsiteX0" fmla="*/ 3891669 w 3891669"/>
              <a:gd name="connsiteY0" fmla="*/ 0 h 257442"/>
              <a:gd name="connsiteX1" fmla="*/ 3567644 w 3891669"/>
              <a:gd name="connsiteY1" fmla="*/ 257442 h 257442"/>
              <a:gd name="connsiteX2" fmla="*/ 0 w 3891669"/>
              <a:gd name="connsiteY2" fmla="*/ 257442 h 257442"/>
              <a:gd name="connsiteX3" fmla="*/ 54720 w 3891669"/>
              <a:gd name="connsiteY3" fmla="*/ 0 h 257442"/>
              <a:gd name="connsiteX0" fmla="*/ 3891669 w 3891669"/>
              <a:gd name="connsiteY0" fmla="*/ 0 h 257442"/>
              <a:gd name="connsiteX1" fmla="*/ 3836949 w 3891669"/>
              <a:gd name="connsiteY1" fmla="*/ 257442 h 257442"/>
              <a:gd name="connsiteX2" fmla="*/ 0 w 3891669"/>
              <a:gd name="connsiteY2" fmla="*/ 257442 h 257442"/>
              <a:gd name="connsiteX3" fmla="*/ 54720 w 3891669"/>
              <a:gd name="connsiteY3" fmla="*/ 0 h 257442"/>
              <a:gd name="connsiteX0" fmla="*/ 3891670 w 3891670"/>
              <a:gd name="connsiteY0" fmla="*/ 0 h 257442"/>
              <a:gd name="connsiteX1" fmla="*/ 3836950 w 3891670"/>
              <a:gd name="connsiteY1" fmla="*/ 257442 h 257442"/>
              <a:gd name="connsiteX2" fmla="*/ 0 w 3891670"/>
              <a:gd name="connsiteY2" fmla="*/ 257442 h 257442"/>
              <a:gd name="connsiteX3" fmla="*/ 54721 w 3891670"/>
              <a:gd name="connsiteY3" fmla="*/ 0 h 257442"/>
              <a:gd name="connsiteX0" fmla="*/ 3891670 w 3891670"/>
              <a:gd name="connsiteY0" fmla="*/ 0 h 257442"/>
              <a:gd name="connsiteX1" fmla="*/ 3836950 w 3891670"/>
              <a:gd name="connsiteY1" fmla="*/ 257442 h 257442"/>
              <a:gd name="connsiteX2" fmla="*/ 0 w 3891670"/>
              <a:gd name="connsiteY2" fmla="*/ 257442 h 257442"/>
              <a:gd name="connsiteX3" fmla="*/ 54721 w 3891670"/>
              <a:gd name="connsiteY3" fmla="*/ 0 h 257442"/>
              <a:gd name="connsiteX0" fmla="*/ 4069604 w 4069604"/>
              <a:gd name="connsiteY0" fmla="*/ 0 h 257442"/>
              <a:gd name="connsiteX1" fmla="*/ 3836950 w 4069604"/>
              <a:gd name="connsiteY1" fmla="*/ 257442 h 257442"/>
              <a:gd name="connsiteX2" fmla="*/ 0 w 4069604"/>
              <a:gd name="connsiteY2" fmla="*/ 257442 h 257442"/>
              <a:gd name="connsiteX3" fmla="*/ 54721 w 4069604"/>
              <a:gd name="connsiteY3" fmla="*/ 0 h 257442"/>
              <a:gd name="connsiteX0" fmla="*/ 4069604 w 4069604"/>
              <a:gd name="connsiteY0" fmla="*/ 0 h 257442"/>
              <a:gd name="connsiteX1" fmla="*/ 4014883 w 4069604"/>
              <a:gd name="connsiteY1" fmla="*/ 257442 h 257442"/>
              <a:gd name="connsiteX2" fmla="*/ 0 w 4069604"/>
              <a:gd name="connsiteY2" fmla="*/ 257442 h 257442"/>
              <a:gd name="connsiteX3" fmla="*/ 54721 w 4069604"/>
              <a:gd name="connsiteY3" fmla="*/ 0 h 257442"/>
              <a:gd name="connsiteX0" fmla="*/ 4069604 w 4069604"/>
              <a:gd name="connsiteY0" fmla="*/ 0 h 257442"/>
              <a:gd name="connsiteX1" fmla="*/ 4014883 w 4069604"/>
              <a:gd name="connsiteY1" fmla="*/ 257442 h 257442"/>
              <a:gd name="connsiteX2" fmla="*/ 0 w 4069604"/>
              <a:gd name="connsiteY2" fmla="*/ 257442 h 257442"/>
              <a:gd name="connsiteX3" fmla="*/ 54721 w 4069604"/>
              <a:gd name="connsiteY3" fmla="*/ 0 h 257442"/>
              <a:gd name="connsiteX0" fmla="*/ 4069604 w 4069604"/>
              <a:gd name="connsiteY0" fmla="*/ 0 h 257442"/>
              <a:gd name="connsiteX1" fmla="*/ 4014883 w 4069604"/>
              <a:gd name="connsiteY1" fmla="*/ 257442 h 257442"/>
              <a:gd name="connsiteX2" fmla="*/ 0 w 4069604"/>
              <a:gd name="connsiteY2" fmla="*/ 257442 h 257442"/>
              <a:gd name="connsiteX3" fmla="*/ 54721 w 4069604"/>
              <a:gd name="connsiteY3" fmla="*/ 0 h 257442"/>
              <a:gd name="connsiteX0" fmla="*/ 4390204 w 4390204"/>
              <a:gd name="connsiteY0" fmla="*/ 0 h 257442"/>
              <a:gd name="connsiteX1" fmla="*/ 4014883 w 4390204"/>
              <a:gd name="connsiteY1" fmla="*/ 257442 h 257442"/>
              <a:gd name="connsiteX2" fmla="*/ 0 w 4390204"/>
              <a:gd name="connsiteY2" fmla="*/ 257442 h 257442"/>
              <a:gd name="connsiteX3" fmla="*/ 54721 w 4390204"/>
              <a:gd name="connsiteY3" fmla="*/ 0 h 257442"/>
              <a:gd name="connsiteX0" fmla="*/ 4390204 w 4390204"/>
              <a:gd name="connsiteY0" fmla="*/ 0 h 257442"/>
              <a:gd name="connsiteX1" fmla="*/ 4335483 w 4390204"/>
              <a:gd name="connsiteY1" fmla="*/ 257442 h 257442"/>
              <a:gd name="connsiteX2" fmla="*/ 0 w 4390204"/>
              <a:gd name="connsiteY2" fmla="*/ 257442 h 257442"/>
              <a:gd name="connsiteX3" fmla="*/ 54721 w 4390204"/>
              <a:gd name="connsiteY3" fmla="*/ 0 h 257442"/>
              <a:gd name="connsiteX0" fmla="*/ 4390204 w 4390204"/>
              <a:gd name="connsiteY0" fmla="*/ 0 h 257442"/>
              <a:gd name="connsiteX1" fmla="*/ 4335483 w 4390204"/>
              <a:gd name="connsiteY1" fmla="*/ 257442 h 257442"/>
              <a:gd name="connsiteX2" fmla="*/ 0 w 4390204"/>
              <a:gd name="connsiteY2" fmla="*/ 257442 h 257442"/>
              <a:gd name="connsiteX3" fmla="*/ 54721 w 4390204"/>
              <a:gd name="connsiteY3" fmla="*/ 0 h 257442"/>
              <a:gd name="connsiteX0" fmla="*/ 4390204 w 4390204"/>
              <a:gd name="connsiteY0" fmla="*/ 0 h 257442"/>
              <a:gd name="connsiteX1" fmla="*/ 4335483 w 4390204"/>
              <a:gd name="connsiteY1" fmla="*/ 257442 h 257442"/>
              <a:gd name="connsiteX2" fmla="*/ 0 w 4390204"/>
              <a:gd name="connsiteY2" fmla="*/ 257442 h 257442"/>
              <a:gd name="connsiteX3" fmla="*/ 54721 w 4390204"/>
              <a:gd name="connsiteY3" fmla="*/ 0 h 257442"/>
              <a:gd name="connsiteX0" fmla="*/ 4643479 w 4643479"/>
              <a:gd name="connsiteY0" fmla="*/ 0 h 257442"/>
              <a:gd name="connsiteX1" fmla="*/ 4335483 w 4643479"/>
              <a:gd name="connsiteY1" fmla="*/ 257442 h 257442"/>
              <a:gd name="connsiteX2" fmla="*/ 0 w 4643479"/>
              <a:gd name="connsiteY2" fmla="*/ 257442 h 257442"/>
              <a:gd name="connsiteX3" fmla="*/ 54721 w 4643479"/>
              <a:gd name="connsiteY3" fmla="*/ 0 h 257442"/>
              <a:gd name="connsiteX0" fmla="*/ 4643479 w 4643479"/>
              <a:gd name="connsiteY0" fmla="*/ 0 h 257442"/>
              <a:gd name="connsiteX1" fmla="*/ 4588758 w 4643479"/>
              <a:gd name="connsiteY1" fmla="*/ 257442 h 257442"/>
              <a:gd name="connsiteX2" fmla="*/ 0 w 4643479"/>
              <a:gd name="connsiteY2" fmla="*/ 257442 h 257442"/>
              <a:gd name="connsiteX3" fmla="*/ 54721 w 4643479"/>
              <a:gd name="connsiteY3" fmla="*/ 0 h 257442"/>
              <a:gd name="connsiteX0" fmla="*/ 4643479 w 4643479"/>
              <a:gd name="connsiteY0" fmla="*/ 0 h 257442"/>
              <a:gd name="connsiteX1" fmla="*/ 4588758 w 4643479"/>
              <a:gd name="connsiteY1" fmla="*/ 257442 h 257442"/>
              <a:gd name="connsiteX2" fmla="*/ 0 w 4643479"/>
              <a:gd name="connsiteY2" fmla="*/ 257442 h 257442"/>
              <a:gd name="connsiteX3" fmla="*/ 54721 w 4643479"/>
              <a:gd name="connsiteY3" fmla="*/ 0 h 257442"/>
              <a:gd name="connsiteX0" fmla="*/ 4643479 w 4643479"/>
              <a:gd name="connsiteY0" fmla="*/ 0 h 257442"/>
              <a:gd name="connsiteX1" fmla="*/ 4588758 w 4643479"/>
              <a:gd name="connsiteY1" fmla="*/ 257442 h 257442"/>
              <a:gd name="connsiteX2" fmla="*/ 0 w 4643479"/>
              <a:gd name="connsiteY2" fmla="*/ 257442 h 257442"/>
              <a:gd name="connsiteX3" fmla="*/ 54721 w 4643479"/>
              <a:gd name="connsiteY3" fmla="*/ 0 h 257442"/>
              <a:gd name="connsiteX0" fmla="*/ 4821412 w 4821412"/>
              <a:gd name="connsiteY0" fmla="*/ 0 h 257442"/>
              <a:gd name="connsiteX1" fmla="*/ 4588758 w 4821412"/>
              <a:gd name="connsiteY1" fmla="*/ 257442 h 257442"/>
              <a:gd name="connsiteX2" fmla="*/ 0 w 4821412"/>
              <a:gd name="connsiteY2" fmla="*/ 257442 h 257442"/>
              <a:gd name="connsiteX3" fmla="*/ 54721 w 4821412"/>
              <a:gd name="connsiteY3" fmla="*/ 0 h 257442"/>
              <a:gd name="connsiteX0" fmla="*/ 4821412 w 4821412"/>
              <a:gd name="connsiteY0" fmla="*/ 0 h 257442"/>
              <a:gd name="connsiteX1" fmla="*/ 4766690 w 4821412"/>
              <a:gd name="connsiteY1" fmla="*/ 257442 h 257442"/>
              <a:gd name="connsiteX2" fmla="*/ 0 w 4821412"/>
              <a:gd name="connsiteY2" fmla="*/ 257442 h 257442"/>
              <a:gd name="connsiteX3" fmla="*/ 54721 w 4821412"/>
              <a:gd name="connsiteY3" fmla="*/ 0 h 257442"/>
              <a:gd name="connsiteX0" fmla="*/ 4821413 w 4821413"/>
              <a:gd name="connsiteY0" fmla="*/ 0 h 257442"/>
              <a:gd name="connsiteX1" fmla="*/ 4766691 w 4821413"/>
              <a:gd name="connsiteY1" fmla="*/ 257442 h 257442"/>
              <a:gd name="connsiteX2" fmla="*/ 0 w 4821413"/>
              <a:gd name="connsiteY2" fmla="*/ 257442 h 257442"/>
              <a:gd name="connsiteX3" fmla="*/ 54722 w 4821413"/>
              <a:gd name="connsiteY3" fmla="*/ 0 h 257442"/>
              <a:gd name="connsiteX0" fmla="*/ 4821413 w 4821413"/>
              <a:gd name="connsiteY0" fmla="*/ 0 h 257442"/>
              <a:gd name="connsiteX1" fmla="*/ 4766691 w 4821413"/>
              <a:gd name="connsiteY1" fmla="*/ 257442 h 257442"/>
              <a:gd name="connsiteX2" fmla="*/ 0 w 4821413"/>
              <a:gd name="connsiteY2" fmla="*/ 257442 h 257442"/>
              <a:gd name="connsiteX3" fmla="*/ 54722 w 4821413"/>
              <a:gd name="connsiteY3" fmla="*/ 0 h 257442"/>
              <a:gd name="connsiteX0" fmla="*/ 4989728 w 4989728"/>
              <a:gd name="connsiteY0" fmla="*/ 0 h 257442"/>
              <a:gd name="connsiteX1" fmla="*/ 4766691 w 4989728"/>
              <a:gd name="connsiteY1" fmla="*/ 257442 h 257442"/>
              <a:gd name="connsiteX2" fmla="*/ 0 w 4989728"/>
              <a:gd name="connsiteY2" fmla="*/ 257442 h 257442"/>
              <a:gd name="connsiteX3" fmla="*/ 54722 w 4989728"/>
              <a:gd name="connsiteY3" fmla="*/ 0 h 257442"/>
              <a:gd name="connsiteX0" fmla="*/ 4989728 w 4989728"/>
              <a:gd name="connsiteY0" fmla="*/ 0 h 257442"/>
              <a:gd name="connsiteX1" fmla="*/ 4935007 w 4989728"/>
              <a:gd name="connsiteY1" fmla="*/ 257442 h 257442"/>
              <a:gd name="connsiteX2" fmla="*/ 0 w 4989728"/>
              <a:gd name="connsiteY2" fmla="*/ 257442 h 257442"/>
              <a:gd name="connsiteX3" fmla="*/ 54722 w 4989728"/>
              <a:gd name="connsiteY3" fmla="*/ 0 h 257442"/>
              <a:gd name="connsiteX0" fmla="*/ 4989728 w 4989728"/>
              <a:gd name="connsiteY0" fmla="*/ 0 h 257442"/>
              <a:gd name="connsiteX1" fmla="*/ 4935007 w 4989728"/>
              <a:gd name="connsiteY1" fmla="*/ 257442 h 257442"/>
              <a:gd name="connsiteX2" fmla="*/ 0 w 4989728"/>
              <a:gd name="connsiteY2" fmla="*/ 257442 h 257442"/>
              <a:gd name="connsiteX3" fmla="*/ 54722 w 4989728"/>
              <a:gd name="connsiteY3" fmla="*/ 0 h 257442"/>
              <a:gd name="connsiteX0" fmla="*/ 4989728 w 4989728"/>
              <a:gd name="connsiteY0" fmla="*/ 0 h 257442"/>
              <a:gd name="connsiteX1" fmla="*/ 4935007 w 4989728"/>
              <a:gd name="connsiteY1" fmla="*/ 257442 h 257442"/>
              <a:gd name="connsiteX2" fmla="*/ 0 w 4989728"/>
              <a:gd name="connsiteY2" fmla="*/ 257442 h 257442"/>
              <a:gd name="connsiteX3" fmla="*/ 54721 w 4989728"/>
              <a:gd name="connsiteY3" fmla="*/ 0 h 257442"/>
              <a:gd name="connsiteX0" fmla="*/ 5150028 w 5150028"/>
              <a:gd name="connsiteY0" fmla="*/ 0 h 257442"/>
              <a:gd name="connsiteX1" fmla="*/ 4935007 w 5150028"/>
              <a:gd name="connsiteY1" fmla="*/ 257442 h 257442"/>
              <a:gd name="connsiteX2" fmla="*/ 0 w 5150028"/>
              <a:gd name="connsiteY2" fmla="*/ 257442 h 257442"/>
              <a:gd name="connsiteX3" fmla="*/ 54721 w 5150028"/>
              <a:gd name="connsiteY3" fmla="*/ 0 h 257442"/>
              <a:gd name="connsiteX0" fmla="*/ 5150028 w 5150028"/>
              <a:gd name="connsiteY0" fmla="*/ 0 h 257442"/>
              <a:gd name="connsiteX1" fmla="*/ 5095307 w 5150028"/>
              <a:gd name="connsiteY1" fmla="*/ 257442 h 257442"/>
              <a:gd name="connsiteX2" fmla="*/ 0 w 5150028"/>
              <a:gd name="connsiteY2" fmla="*/ 257442 h 257442"/>
              <a:gd name="connsiteX3" fmla="*/ 54721 w 5150028"/>
              <a:gd name="connsiteY3" fmla="*/ 0 h 257442"/>
              <a:gd name="connsiteX0" fmla="*/ 5150028 w 5150028"/>
              <a:gd name="connsiteY0" fmla="*/ 0 h 257442"/>
              <a:gd name="connsiteX1" fmla="*/ 5095307 w 5150028"/>
              <a:gd name="connsiteY1" fmla="*/ 257442 h 257442"/>
              <a:gd name="connsiteX2" fmla="*/ 0 w 5150028"/>
              <a:gd name="connsiteY2" fmla="*/ 257442 h 257442"/>
              <a:gd name="connsiteX3" fmla="*/ 54721 w 5150028"/>
              <a:gd name="connsiteY3" fmla="*/ 0 h 257442"/>
              <a:gd name="connsiteX0" fmla="*/ 5150028 w 5150028"/>
              <a:gd name="connsiteY0" fmla="*/ 0 h 257442"/>
              <a:gd name="connsiteX1" fmla="*/ 5095307 w 5150028"/>
              <a:gd name="connsiteY1" fmla="*/ 257442 h 257442"/>
              <a:gd name="connsiteX2" fmla="*/ 0 w 5150028"/>
              <a:gd name="connsiteY2" fmla="*/ 257442 h 257442"/>
              <a:gd name="connsiteX3" fmla="*/ 54721 w 5150028"/>
              <a:gd name="connsiteY3" fmla="*/ 0 h 257442"/>
              <a:gd name="connsiteX0" fmla="*/ 2114581 w 5095307"/>
              <a:gd name="connsiteY0" fmla="*/ 0 h 257442"/>
              <a:gd name="connsiteX1" fmla="*/ 5095307 w 5095307"/>
              <a:gd name="connsiteY1" fmla="*/ 257442 h 257442"/>
              <a:gd name="connsiteX2" fmla="*/ 0 w 5095307"/>
              <a:gd name="connsiteY2" fmla="*/ 257442 h 257442"/>
              <a:gd name="connsiteX3" fmla="*/ 54721 w 5095307"/>
              <a:gd name="connsiteY3" fmla="*/ 0 h 257442"/>
              <a:gd name="connsiteX0" fmla="*/ 2114581 w 2114581"/>
              <a:gd name="connsiteY0" fmla="*/ 0 h 257442"/>
              <a:gd name="connsiteX1" fmla="*/ 2059861 w 2114581"/>
              <a:gd name="connsiteY1" fmla="*/ 257442 h 257442"/>
              <a:gd name="connsiteX2" fmla="*/ 0 w 2114581"/>
              <a:gd name="connsiteY2" fmla="*/ 257442 h 257442"/>
              <a:gd name="connsiteX3" fmla="*/ 54721 w 2114581"/>
              <a:gd name="connsiteY3" fmla="*/ 0 h 257442"/>
              <a:gd name="connsiteX0" fmla="*/ 2114580 w 2114580"/>
              <a:gd name="connsiteY0" fmla="*/ 0 h 257442"/>
              <a:gd name="connsiteX1" fmla="*/ 2059860 w 2114580"/>
              <a:gd name="connsiteY1" fmla="*/ 257442 h 257442"/>
              <a:gd name="connsiteX2" fmla="*/ 0 w 2114580"/>
              <a:gd name="connsiteY2" fmla="*/ 257442 h 257442"/>
              <a:gd name="connsiteX3" fmla="*/ 54720 w 2114580"/>
              <a:gd name="connsiteY3" fmla="*/ 0 h 257442"/>
              <a:gd name="connsiteX0" fmla="*/ 2114580 w 2114580"/>
              <a:gd name="connsiteY0" fmla="*/ 0 h 257442"/>
              <a:gd name="connsiteX1" fmla="*/ 2059860 w 2114580"/>
              <a:gd name="connsiteY1" fmla="*/ 257442 h 257442"/>
              <a:gd name="connsiteX2" fmla="*/ 0 w 2114580"/>
              <a:gd name="connsiteY2" fmla="*/ 257442 h 257442"/>
              <a:gd name="connsiteX3" fmla="*/ 54720 w 2114580"/>
              <a:gd name="connsiteY3" fmla="*/ 0 h 257442"/>
              <a:gd name="connsiteX0" fmla="*/ 2274881 w 2274881"/>
              <a:gd name="connsiteY0" fmla="*/ 0 h 257442"/>
              <a:gd name="connsiteX1" fmla="*/ 2059860 w 2274881"/>
              <a:gd name="connsiteY1" fmla="*/ 257442 h 257442"/>
              <a:gd name="connsiteX2" fmla="*/ 0 w 2274881"/>
              <a:gd name="connsiteY2" fmla="*/ 257442 h 257442"/>
              <a:gd name="connsiteX3" fmla="*/ 54720 w 2274881"/>
              <a:gd name="connsiteY3" fmla="*/ 0 h 257442"/>
              <a:gd name="connsiteX0" fmla="*/ 2274881 w 2274881"/>
              <a:gd name="connsiteY0" fmla="*/ 0 h 257442"/>
              <a:gd name="connsiteX1" fmla="*/ 2220160 w 2274881"/>
              <a:gd name="connsiteY1" fmla="*/ 257442 h 257442"/>
              <a:gd name="connsiteX2" fmla="*/ 0 w 2274881"/>
              <a:gd name="connsiteY2" fmla="*/ 257442 h 257442"/>
              <a:gd name="connsiteX3" fmla="*/ 54720 w 2274881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1 w 2274882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1 w 2274882"/>
              <a:gd name="connsiteY3" fmla="*/ 0 h 257442"/>
              <a:gd name="connsiteX0" fmla="*/ 2579452 w 2579452"/>
              <a:gd name="connsiteY0" fmla="*/ 0 h 257442"/>
              <a:gd name="connsiteX1" fmla="*/ 222016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772967 w 2772967"/>
              <a:gd name="connsiteY0" fmla="*/ 0 h 257442"/>
              <a:gd name="connsiteX1" fmla="*/ 2524731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772967 w 2772967"/>
              <a:gd name="connsiteY0" fmla="*/ 0 h 257442"/>
              <a:gd name="connsiteX1" fmla="*/ 2718246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772967 w 2772967"/>
              <a:gd name="connsiteY0" fmla="*/ 0 h 257442"/>
              <a:gd name="connsiteX1" fmla="*/ 2718246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772967 w 2772967"/>
              <a:gd name="connsiteY0" fmla="*/ 0 h 257442"/>
              <a:gd name="connsiteX1" fmla="*/ 2718246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579452 w 2718246"/>
              <a:gd name="connsiteY0" fmla="*/ 0 h 257442"/>
              <a:gd name="connsiteX1" fmla="*/ 2718246 w 2718246"/>
              <a:gd name="connsiteY1" fmla="*/ 257442 h 257442"/>
              <a:gd name="connsiteX2" fmla="*/ 0 w 2718246"/>
              <a:gd name="connsiteY2" fmla="*/ 257442 h 257442"/>
              <a:gd name="connsiteX3" fmla="*/ 54721 w 2718246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427166 w 2524731"/>
              <a:gd name="connsiteY0" fmla="*/ 0 h 257442"/>
              <a:gd name="connsiteX1" fmla="*/ 2524731 w 2524731"/>
              <a:gd name="connsiteY1" fmla="*/ 257442 h 257442"/>
              <a:gd name="connsiteX2" fmla="*/ 0 w 2524731"/>
              <a:gd name="connsiteY2" fmla="*/ 257442 h 257442"/>
              <a:gd name="connsiteX3" fmla="*/ 54721 w 2524731"/>
              <a:gd name="connsiteY3" fmla="*/ 0 h 257442"/>
              <a:gd name="connsiteX0" fmla="*/ 2427166 w 2427166"/>
              <a:gd name="connsiteY0" fmla="*/ 0 h 257442"/>
              <a:gd name="connsiteX1" fmla="*/ 2372446 w 2427166"/>
              <a:gd name="connsiteY1" fmla="*/ 257442 h 257442"/>
              <a:gd name="connsiteX2" fmla="*/ 0 w 2427166"/>
              <a:gd name="connsiteY2" fmla="*/ 257442 h 257442"/>
              <a:gd name="connsiteX3" fmla="*/ 54721 w 2427166"/>
              <a:gd name="connsiteY3" fmla="*/ 0 h 257442"/>
              <a:gd name="connsiteX0" fmla="*/ 2427165 w 2427165"/>
              <a:gd name="connsiteY0" fmla="*/ 0 h 257442"/>
              <a:gd name="connsiteX1" fmla="*/ 2372445 w 2427165"/>
              <a:gd name="connsiteY1" fmla="*/ 257442 h 257442"/>
              <a:gd name="connsiteX2" fmla="*/ 0 w 2427165"/>
              <a:gd name="connsiteY2" fmla="*/ 257442 h 257442"/>
              <a:gd name="connsiteX3" fmla="*/ 54720 w 2427165"/>
              <a:gd name="connsiteY3" fmla="*/ 0 h 257442"/>
              <a:gd name="connsiteX0" fmla="*/ 2427165 w 2427165"/>
              <a:gd name="connsiteY0" fmla="*/ 0 h 257442"/>
              <a:gd name="connsiteX1" fmla="*/ 2372445 w 2427165"/>
              <a:gd name="connsiteY1" fmla="*/ 257442 h 257442"/>
              <a:gd name="connsiteX2" fmla="*/ 0 w 2427165"/>
              <a:gd name="connsiteY2" fmla="*/ 257442 h 257442"/>
              <a:gd name="connsiteX3" fmla="*/ 54721 w 2427165"/>
              <a:gd name="connsiteY3" fmla="*/ 0 h 257442"/>
              <a:gd name="connsiteX0" fmla="*/ 2274882 w 2372445"/>
              <a:gd name="connsiteY0" fmla="*/ 0 h 257442"/>
              <a:gd name="connsiteX1" fmla="*/ 2372445 w 2372445"/>
              <a:gd name="connsiteY1" fmla="*/ 257442 h 257442"/>
              <a:gd name="connsiteX2" fmla="*/ 0 w 2372445"/>
              <a:gd name="connsiteY2" fmla="*/ 257442 h 257442"/>
              <a:gd name="connsiteX3" fmla="*/ 54721 w 2372445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1 w 2274882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1 w 2274882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1 w 2274882"/>
              <a:gd name="connsiteY3" fmla="*/ 0 h 257442"/>
              <a:gd name="connsiteX0" fmla="*/ 2114581 w 2220161"/>
              <a:gd name="connsiteY0" fmla="*/ 0 h 257442"/>
              <a:gd name="connsiteX1" fmla="*/ 2220161 w 2220161"/>
              <a:gd name="connsiteY1" fmla="*/ 257442 h 257442"/>
              <a:gd name="connsiteX2" fmla="*/ 0 w 2220161"/>
              <a:gd name="connsiteY2" fmla="*/ 257442 h 257442"/>
              <a:gd name="connsiteX3" fmla="*/ 54721 w 2220161"/>
              <a:gd name="connsiteY3" fmla="*/ 0 h 257442"/>
              <a:gd name="connsiteX0" fmla="*/ 2114581 w 2114581"/>
              <a:gd name="connsiteY0" fmla="*/ 0 h 257442"/>
              <a:gd name="connsiteX1" fmla="*/ 2059861 w 2114581"/>
              <a:gd name="connsiteY1" fmla="*/ 257442 h 257442"/>
              <a:gd name="connsiteX2" fmla="*/ 0 w 2114581"/>
              <a:gd name="connsiteY2" fmla="*/ 257442 h 257442"/>
              <a:gd name="connsiteX3" fmla="*/ 54721 w 2114581"/>
              <a:gd name="connsiteY3" fmla="*/ 0 h 257442"/>
              <a:gd name="connsiteX0" fmla="*/ 2114580 w 2114580"/>
              <a:gd name="connsiteY0" fmla="*/ 0 h 257442"/>
              <a:gd name="connsiteX1" fmla="*/ 2059860 w 2114580"/>
              <a:gd name="connsiteY1" fmla="*/ 257442 h 257442"/>
              <a:gd name="connsiteX2" fmla="*/ 0 w 2114580"/>
              <a:gd name="connsiteY2" fmla="*/ 257442 h 257442"/>
              <a:gd name="connsiteX3" fmla="*/ 54720 w 2114580"/>
              <a:gd name="connsiteY3" fmla="*/ 0 h 257442"/>
              <a:gd name="connsiteX0" fmla="*/ 2114580 w 2114580"/>
              <a:gd name="connsiteY0" fmla="*/ 0 h 257442"/>
              <a:gd name="connsiteX1" fmla="*/ 2059860 w 2114580"/>
              <a:gd name="connsiteY1" fmla="*/ 257442 h 257442"/>
              <a:gd name="connsiteX2" fmla="*/ 0 w 2114580"/>
              <a:gd name="connsiteY2" fmla="*/ 257442 h 257442"/>
              <a:gd name="connsiteX3" fmla="*/ 54720 w 2114580"/>
              <a:gd name="connsiteY3" fmla="*/ 0 h 257442"/>
              <a:gd name="connsiteX0" fmla="*/ 2316559 w 2316559"/>
              <a:gd name="connsiteY0" fmla="*/ 0 h 257442"/>
              <a:gd name="connsiteX1" fmla="*/ 2059860 w 2316559"/>
              <a:gd name="connsiteY1" fmla="*/ 257442 h 257442"/>
              <a:gd name="connsiteX2" fmla="*/ 0 w 2316559"/>
              <a:gd name="connsiteY2" fmla="*/ 257442 h 257442"/>
              <a:gd name="connsiteX3" fmla="*/ 54720 w 2316559"/>
              <a:gd name="connsiteY3" fmla="*/ 0 h 257442"/>
              <a:gd name="connsiteX0" fmla="*/ 2316559 w 2316559"/>
              <a:gd name="connsiteY0" fmla="*/ 0 h 257442"/>
              <a:gd name="connsiteX1" fmla="*/ 2261838 w 2316559"/>
              <a:gd name="connsiteY1" fmla="*/ 257442 h 257442"/>
              <a:gd name="connsiteX2" fmla="*/ 0 w 2316559"/>
              <a:gd name="connsiteY2" fmla="*/ 257442 h 257442"/>
              <a:gd name="connsiteX3" fmla="*/ 54720 w 2316559"/>
              <a:gd name="connsiteY3" fmla="*/ 0 h 257442"/>
              <a:gd name="connsiteX0" fmla="*/ 2316560 w 2316560"/>
              <a:gd name="connsiteY0" fmla="*/ 0 h 257442"/>
              <a:gd name="connsiteX1" fmla="*/ 2261839 w 2316560"/>
              <a:gd name="connsiteY1" fmla="*/ 257442 h 257442"/>
              <a:gd name="connsiteX2" fmla="*/ 0 w 2316560"/>
              <a:gd name="connsiteY2" fmla="*/ 257442 h 257442"/>
              <a:gd name="connsiteX3" fmla="*/ 54721 w 2316560"/>
              <a:gd name="connsiteY3" fmla="*/ 0 h 257442"/>
              <a:gd name="connsiteX0" fmla="*/ 2316560 w 2316560"/>
              <a:gd name="connsiteY0" fmla="*/ 0 h 257442"/>
              <a:gd name="connsiteX1" fmla="*/ 2261839 w 2316560"/>
              <a:gd name="connsiteY1" fmla="*/ 257442 h 257442"/>
              <a:gd name="connsiteX2" fmla="*/ 0 w 2316560"/>
              <a:gd name="connsiteY2" fmla="*/ 257442 h 257442"/>
              <a:gd name="connsiteX3" fmla="*/ 54721 w 2316560"/>
              <a:gd name="connsiteY3" fmla="*/ 0 h 257442"/>
              <a:gd name="connsiteX0" fmla="*/ 2577849 w 2577849"/>
              <a:gd name="connsiteY0" fmla="*/ 0 h 257442"/>
              <a:gd name="connsiteX1" fmla="*/ 2261839 w 2577849"/>
              <a:gd name="connsiteY1" fmla="*/ 257442 h 257442"/>
              <a:gd name="connsiteX2" fmla="*/ 0 w 2577849"/>
              <a:gd name="connsiteY2" fmla="*/ 257442 h 257442"/>
              <a:gd name="connsiteX3" fmla="*/ 54721 w 2577849"/>
              <a:gd name="connsiteY3" fmla="*/ 0 h 257442"/>
              <a:gd name="connsiteX0" fmla="*/ 2577849 w 2577849"/>
              <a:gd name="connsiteY0" fmla="*/ 0 h 257442"/>
              <a:gd name="connsiteX1" fmla="*/ 2523128 w 2577849"/>
              <a:gd name="connsiteY1" fmla="*/ 257442 h 257442"/>
              <a:gd name="connsiteX2" fmla="*/ 0 w 2577849"/>
              <a:gd name="connsiteY2" fmla="*/ 257442 h 257442"/>
              <a:gd name="connsiteX3" fmla="*/ 54721 w 2577849"/>
              <a:gd name="connsiteY3" fmla="*/ 0 h 257442"/>
              <a:gd name="connsiteX0" fmla="*/ 2577849 w 2577849"/>
              <a:gd name="connsiteY0" fmla="*/ 0 h 257442"/>
              <a:gd name="connsiteX1" fmla="*/ 2523128 w 2577849"/>
              <a:gd name="connsiteY1" fmla="*/ 257442 h 257442"/>
              <a:gd name="connsiteX2" fmla="*/ 0 w 2577849"/>
              <a:gd name="connsiteY2" fmla="*/ 257442 h 257442"/>
              <a:gd name="connsiteX3" fmla="*/ 54721 w 2577849"/>
              <a:gd name="connsiteY3" fmla="*/ 0 h 257442"/>
              <a:gd name="connsiteX0" fmla="*/ 2577849 w 2577849"/>
              <a:gd name="connsiteY0" fmla="*/ 0 h 257442"/>
              <a:gd name="connsiteX1" fmla="*/ 2523128 w 2577849"/>
              <a:gd name="connsiteY1" fmla="*/ 257442 h 257442"/>
              <a:gd name="connsiteX2" fmla="*/ 0 w 2577849"/>
              <a:gd name="connsiteY2" fmla="*/ 257442 h 257442"/>
              <a:gd name="connsiteX3" fmla="*/ 54721 w 2577849"/>
              <a:gd name="connsiteY3" fmla="*/ 0 h 257442"/>
              <a:gd name="connsiteX0" fmla="*/ 2746164 w 2746164"/>
              <a:gd name="connsiteY0" fmla="*/ 0 h 257442"/>
              <a:gd name="connsiteX1" fmla="*/ 2523128 w 2746164"/>
              <a:gd name="connsiteY1" fmla="*/ 257442 h 257442"/>
              <a:gd name="connsiteX2" fmla="*/ 0 w 2746164"/>
              <a:gd name="connsiteY2" fmla="*/ 257442 h 257442"/>
              <a:gd name="connsiteX3" fmla="*/ 54721 w 2746164"/>
              <a:gd name="connsiteY3" fmla="*/ 0 h 257442"/>
              <a:gd name="connsiteX0" fmla="*/ 2746164 w 2746164"/>
              <a:gd name="connsiteY0" fmla="*/ 0 h 257442"/>
              <a:gd name="connsiteX1" fmla="*/ 2691442 w 2746164"/>
              <a:gd name="connsiteY1" fmla="*/ 257442 h 257442"/>
              <a:gd name="connsiteX2" fmla="*/ 0 w 2746164"/>
              <a:gd name="connsiteY2" fmla="*/ 257442 h 257442"/>
              <a:gd name="connsiteX3" fmla="*/ 54721 w 2746164"/>
              <a:gd name="connsiteY3" fmla="*/ 0 h 257442"/>
              <a:gd name="connsiteX0" fmla="*/ 2746165 w 2746165"/>
              <a:gd name="connsiteY0" fmla="*/ 0 h 257442"/>
              <a:gd name="connsiteX1" fmla="*/ 2691443 w 2746165"/>
              <a:gd name="connsiteY1" fmla="*/ 257442 h 257442"/>
              <a:gd name="connsiteX2" fmla="*/ 0 w 2746165"/>
              <a:gd name="connsiteY2" fmla="*/ 257442 h 257442"/>
              <a:gd name="connsiteX3" fmla="*/ 54722 w 2746165"/>
              <a:gd name="connsiteY3" fmla="*/ 0 h 257442"/>
              <a:gd name="connsiteX0" fmla="*/ 2746165 w 2746165"/>
              <a:gd name="connsiteY0" fmla="*/ 0 h 257442"/>
              <a:gd name="connsiteX1" fmla="*/ 2691443 w 2746165"/>
              <a:gd name="connsiteY1" fmla="*/ 257442 h 257442"/>
              <a:gd name="connsiteX2" fmla="*/ 0 w 2746165"/>
              <a:gd name="connsiteY2" fmla="*/ 257442 h 257442"/>
              <a:gd name="connsiteX3" fmla="*/ 54722 w 2746165"/>
              <a:gd name="connsiteY3" fmla="*/ 0 h 257442"/>
              <a:gd name="connsiteX0" fmla="*/ 2914480 w 2914480"/>
              <a:gd name="connsiteY0" fmla="*/ 0 h 257442"/>
              <a:gd name="connsiteX1" fmla="*/ 2691443 w 2914480"/>
              <a:gd name="connsiteY1" fmla="*/ 257442 h 257442"/>
              <a:gd name="connsiteX2" fmla="*/ 0 w 2914480"/>
              <a:gd name="connsiteY2" fmla="*/ 257442 h 257442"/>
              <a:gd name="connsiteX3" fmla="*/ 54722 w 2914480"/>
              <a:gd name="connsiteY3" fmla="*/ 0 h 257442"/>
              <a:gd name="connsiteX0" fmla="*/ 2914480 w 2914480"/>
              <a:gd name="connsiteY0" fmla="*/ 0 h 257442"/>
              <a:gd name="connsiteX1" fmla="*/ 2859758 w 2914480"/>
              <a:gd name="connsiteY1" fmla="*/ 257442 h 257442"/>
              <a:gd name="connsiteX2" fmla="*/ 0 w 2914480"/>
              <a:gd name="connsiteY2" fmla="*/ 257442 h 257442"/>
              <a:gd name="connsiteX3" fmla="*/ 54722 w 2914480"/>
              <a:gd name="connsiteY3" fmla="*/ 0 h 257442"/>
              <a:gd name="connsiteX0" fmla="*/ 2914480 w 2914480"/>
              <a:gd name="connsiteY0" fmla="*/ 0 h 257442"/>
              <a:gd name="connsiteX1" fmla="*/ 2859758 w 2914480"/>
              <a:gd name="connsiteY1" fmla="*/ 257442 h 257442"/>
              <a:gd name="connsiteX2" fmla="*/ 0 w 2914480"/>
              <a:gd name="connsiteY2" fmla="*/ 257442 h 257442"/>
              <a:gd name="connsiteX3" fmla="*/ 54722 w 2914480"/>
              <a:gd name="connsiteY3" fmla="*/ 0 h 257442"/>
              <a:gd name="connsiteX0" fmla="*/ 2914480 w 2914480"/>
              <a:gd name="connsiteY0" fmla="*/ 0 h 257442"/>
              <a:gd name="connsiteX1" fmla="*/ 2859758 w 2914480"/>
              <a:gd name="connsiteY1" fmla="*/ 257442 h 257442"/>
              <a:gd name="connsiteX2" fmla="*/ 0 w 2914480"/>
              <a:gd name="connsiteY2" fmla="*/ 257442 h 257442"/>
              <a:gd name="connsiteX3" fmla="*/ 54721 w 2914480"/>
              <a:gd name="connsiteY3" fmla="*/ 0 h 257442"/>
              <a:gd name="connsiteX0" fmla="*/ 3167754 w 3167754"/>
              <a:gd name="connsiteY0" fmla="*/ 0 h 257442"/>
              <a:gd name="connsiteX1" fmla="*/ 2859758 w 3167754"/>
              <a:gd name="connsiteY1" fmla="*/ 257442 h 257442"/>
              <a:gd name="connsiteX2" fmla="*/ 0 w 3167754"/>
              <a:gd name="connsiteY2" fmla="*/ 257442 h 257442"/>
              <a:gd name="connsiteX3" fmla="*/ 54721 w 3167754"/>
              <a:gd name="connsiteY3" fmla="*/ 0 h 257442"/>
              <a:gd name="connsiteX0" fmla="*/ 3167754 w 3167754"/>
              <a:gd name="connsiteY0" fmla="*/ 0 h 257442"/>
              <a:gd name="connsiteX1" fmla="*/ 3113033 w 3167754"/>
              <a:gd name="connsiteY1" fmla="*/ 257442 h 257442"/>
              <a:gd name="connsiteX2" fmla="*/ 0 w 3167754"/>
              <a:gd name="connsiteY2" fmla="*/ 257442 h 257442"/>
              <a:gd name="connsiteX3" fmla="*/ 54721 w 3167754"/>
              <a:gd name="connsiteY3" fmla="*/ 0 h 257442"/>
              <a:gd name="connsiteX0" fmla="*/ 3167754 w 3167754"/>
              <a:gd name="connsiteY0" fmla="*/ 0 h 257442"/>
              <a:gd name="connsiteX1" fmla="*/ 3113033 w 3167754"/>
              <a:gd name="connsiteY1" fmla="*/ 257442 h 257442"/>
              <a:gd name="connsiteX2" fmla="*/ 0 w 3167754"/>
              <a:gd name="connsiteY2" fmla="*/ 257442 h 257442"/>
              <a:gd name="connsiteX3" fmla="*/ 54721 w 3167754"/>
              <a:gd name="connsiteY3" fmla="*/ 0 h 257442"/>
              <a:gd name="connsiteX0" fmla="*/ 3167754 w 3167754"/>
              <a:gd name="connsiteY0" fmla="*/ 0 h 257442"/>
              <a:gd name="connsiteX1" fmla="*/ 3113033 w 3167754"/>
              <a:gd name="connsiteY1" fmla="*/ 257442 h 257442"/>
              <a:gd name="connsiteX2" fmla="*/ 0 w 3167754"/>
              <a:gd name="connsiteY2" fmla="*/ 257442 h 257442"/>
              <a:gd name="connsiteX3" fmla="*/ 54721 w 3167754"/>
              <a:gd name="connsiteY3" fmla="*/ 0 h 257442"/>
              <a:gd name="connsiteX0" fmla="*/ 3446676 w 3446676"/>
              <a:gd name="connsiteY0" fmla="*/ 0 h 257442"/>
              <a:gd name="connsiteX1" fmla="*/ 3113033 w 3446676"/>
              <a:gd name="connsiteY1" fmla="*/ 257442 h 257442"/>
              <a:gd name="connsiteX2" fmla="*/ 0 w 3446676"/>
              <a:gd name="connsiteY2" fmla="*/ 257442 h 257442"/>
              <a:gd name="connsiteX3" fmla="*/ 54721 w 3446676"/>
              <a:gd name="connsiteY3" fmla="*/ 0 h 257442"/>
              <a:gd name="connsiteX0" fmla="*/ 3446676 w 3446676"/>
              <a:gd name="connsiteY0" fmla="*/ 0 h 257442"/>
              <a:gd name="connsiteX1" fmla="*/ 3391955 w 3446676"/>
              <a:gd name="connsiteY1" fmla="*/ 257442 h 257442"/>
              <a:gd name="connsiteX2" fmla="*/ 0 w 3446676"/>
              <a:gd name="connsiteY2" fmla="*/ 257442 h 257442"/>
              <a:gd name="connsiteX3" fmla="*/ 54721 w 3446676"/>
              <a:gd name="connsiteY3" fmla="*/ 0 h 257442"/>
              <a:gd name="connsiteX0" fmla="*/ 3446676 w 3446676"/>
              <a:gd name="connsiteY0" fmla="*/ 0 h 257442"/>
              <a:gd name="connsiteX1" fmla="*/ 3391955 w 3446676"/>
              <a:gd name="connsiteY1" fmla="*/ 257442 h 257442"/>
              <a:gd name="connsiteX2" fmla="*/ 0 w 3446676"/>
              <a:gd name="connsiteY2" fmla="*/ 257442 h 257442"/>
              <a:gd name="connsiteX3" fmla="*/ 54721 w 3446676"/>
              <a:gd name="connsiteY3" fmla="*/ 0 h 257442"/>
              <a:gd name="connsiteX0" fmla="*/ 3446676 w 3446676"/>
              <a:gd name="connsiteY0" fmla="*/ 0 h 257442"/>
              <a:gd name="connsiteX1" fmla="*/ 3391955 w 3446676"/>
              <a:gd name="connsiteY1" fmla="*/ 257442 h 257442"/>
              <a:gd name="connsiteX2" fmla="*/ 0 w 3446676"/>
              <a:gd name="connsiteY2" fmla="*/ 257442 h 257442"/>
              <a:gd name="connsiteX3" fmla="*/ 54721 w 3446676"/>
              <a:gd name="connsiteY3" fmla="*/ 0 h 257442"/>
              <a:gd name="connsiteX0" fmla="*/ 3614992 w 3614992"/>
              <a:gd name="connsiteY0" fmla="*/ 0 h 257442"/>
              <a:gd name="connsiteX1" fmla="*/ 3391955 w 3614992"/>
              <a:gd name="connsiteY1" fmla="*/ 257442 h 257442"/>
              <a:gd name="connsiteX2" fmla="*/ 0 w 3614992"/>
              <a:gd name="connsiteY2" fmla="*/ 257442 h 257442"/>
              <a:gd name="connsiteX3" fmla="*/ 54721 w 3614992"/>
              <a:gd name="connsiteY3" fmla="*/ 0 h 257442"/>
              <a:gd name="connsiteX0" fmla="*/ 3614992 w 3614992"/>
              <a:gd name="connsiteY0" fmla="*/ 0 h 257442"/>
              <a:gd name="connsiteX1" fmla="*/ 3560271 w 3614992"/>
              <a:gd name="connsiteY1" fmla="*/ 257442 h 257442"/>
              <a:gd name="connsiteX2" fmla="*/ 0 w 3614992"/>
              <a:gd name="connsiteY2" fmla="*/ 257442 h 257442"/>
              <a:gd name="connsiteX3" fmla="*/ 54721 w 3614992"/>
              <a:gd name="connsiteY3" fmla="*/ 0 h 257442"/>
              <a:gd name="connsiteX0" fmla="*/ 3614992 w 3614992"/>
              <a:gd name="connsiteY0" fmla="*/ 0 h 257442"/>
              <a:gd name="connsiteX1" fmla="*/ 3560271 w 3614992"/>
              <a:gd name="connsiteY1" fmla="*/ 257442 h 257442"/>
              <a:gd name="connsiteX2" fmla="*/ 0 w 3614992"/>
              <a:gd name="connsiteY2" fmla="*/ 257442 h 257442"/>
              <a:gd name="connsiteX3" fmla="*/ 54721 w 3614992"/>
              <a:gd name="connsiteY3" fmla="*/ 0 h 257442"/>
              <a:gd name="connsiteX0" fmla="*/ 3614992 w 3614992"/>
              <a:gd name="connsiteY0" fmla="*/ 0 h 257442"/>
              <a:gd name="connsiteX1" fmla="*/ 3560271 w 3614992"/>
              <a:gd name="connsiteY1" fmla="*/ 257442 h 257442"/>
              <a:gd name="connsiteX2" fmla="*/ 0 w 3614992"/>
              <a:gd name="connsiteY2" fmla="*/ 257442 h 257442"/>
              <a:gd name="connsiteX3" fmla="*/ 54721 w 3614992"/>
              <a:gd name="connsiteY3" fmla="*/ 0 h 257442"/>
              <a:gd name="connsiteX0" fmla="*/ 3775291 w 3775291"/>
              <a:gd name="connsiteY0" fmla="*/ 0 h 257442"/>
              <a:gd name="connsiteX1" fmla="*/ 3560271 w 3775291"/>
              <a:gd name="connsiteY1" fmla="*/ 257442 h 257442"/>
              <a:gd name="connsiteX2" fmla="*/ 0 w 3775291"/>
              <a:gd name="connsiteY2" fmla="*/ 257442 h 257442"/>
              <a:gd name="connsiteX3" fmla="*/ 54721 w 3775291"/>
              <a:gd name="connsiteY3" fmla="*/ 0 h 257442"/>
              <a:gd name="connsiteX0" fmla="*/ 3775291 w 3775291"/>
              <a:gd name="connsiteY0" fmla="*/ 0 h 257442"/>
              <a:gd name="connsiteX1" fmla="*/ 3720571 w 3775291"/>
              <a:gd name="connsiteY1" fmla="*/ 257442 h 257442"/>
              <a:gd name="connsiteX2" fmla="*/ 0 w 3775291"/>
              <a:gd name="connsiteY2" fmla="*/ 257442 h 257442"/>
              <a:gd name="connsiteX3" fmla="*/ 54721 w 3775291"/>
              <a:gd name="connsiteY3" fmla="*/ 0 h 257442"/>
              <a:gd name="connsiteX0" fmla="*/ 3775291 w 3775291"/>
              <a:gd name="connsiteY0" fmla="*/ 0 h 257442"/>
              <a:gd name="connsiteX1" fmla="*/ 3720571 w 3775291"/>
              <a:gd name="connsiteY1" fmla="*/ 257442 h 257442"/>
              <a:gd name="connsiteX2" fmla="*/ 0 w 3775291"/>
              <a:gd name="connsiteY2" fmla="*/ 257442 h 257442"/>
              <a:gd name="connsiteX3" fmla="*/ 54721 w 3775291"/>
              <a:gd name="connsiteY3" fmla="*/ 0 h 257442"/>
              <a:gd name="connsiteX0" fmla="*/ 3775291 w 3775291"/>
              <a:gd name="connsiteY0" fmla="*/ 0 h 257442"/>
              <a:gd name="connsiteX1" fmla="*/ 3720571 w 3775291"/>
              <a:gd name="connsiteY1" fmla="*/ 257442 h 257442"/>
              <a:gd name="connsiteX2" fmla="*/ 0 w 3775291"/>
              <a:gd name="connsiteY2" fmla="*/ 257442 h 257442"/>
              <a:gd name="connsiteX3" fmla="*/ 54721 w 3775291"/>
              <a:gd name="connsiteY3" fmla="*/ 0 h 257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75291" h="257442">
                <a:moveTo>
                  <a:pt x="3775291" y="0"/>
                </a:moveTo>
                <a:lnTo>
                  <a:pt x="3720571" y="257442"/>
                </a:lnTo>
                <a:lnTo>
                  <a:pt x="0" y="257442"/>
                </a:lnTo>
                <a:lnTo>
                  <a:pt x="54721" y="0"/>
                </a:lnTo>
                <a:close/>
              </a:path>
            </a:pathLst>
          </a:custGeom>
          <a:solidFill>
            <a:srgbClr val="B4B4B4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1" name="btfpRunningAgenda2LevelTextRight587740">
            <a:extLst>
              <a:ext uri="{FF2B5EF4-FFF2-40B4-BE49-F238E27FC236}">
                <a16:creationId xmlns:a16="http://schemas.microsoft.com/office/drawing/2014/main" id="{6354673C-548B-4D08-AE3F-BD42A1808DB2}"/>
              </a:ext>
            </a:extLst>
          </p:cNvPr>
          <p:cNvSpPr txBox="1"/>
          <p:nvPr/>
        </p:nvSpPr>
        <p:spPr bwMode="gray">
          <a:xfrm>
            <a:off x="3185197" y="944429"/>
            <a:ext cx="3092451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>
                <a:solidFill>
                  <a:srgbClr val="FFFFFF"/>
                </a:solidFill>
              </a:rPr>
              <a:t>Cosa </a:t>
            </a:r>
            <a:r>
              <a:rPr lang="en-US" sz="1200" b="1" cap="all" spc="450" dirty="0" err="1">
                <a:solidFill>
                  <a:srgbClr val="FFFFFF"/>
                </a:solidFill>
              </a:rPr>
              <a:t>soddisfano</a:t>
            </a:r>
            <a:endParaRPr lang="en-US" sz="1200" b="1" cap="all" spc="450" dirty="0">
              <a:solidFill>
                <a:srgbClr val="FFFFFF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13416082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3C896025-4B90-C558-3939-B7379F79DE4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807476">
              <a:extLst>
                <a:ext uri="{FF2B5EF4-FFF2-40B4-BE49-F238E27FC236}">
                  <a16:creationId xmlns:a16="http://schemas.microsoft.com/office/drawing/2014/main" id="{F2504EF4-1A6B-1C93-7869-951D005BFDF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399523">
              <a:extLst>
                <a:ext uri="{FF2B5EF4-FFF2-40B4-BE49-F238E27FC236}">
                  <a16:creationId xmlns:a16="http://schemas.microsoft.com/office/drawing/2014/main" id="{FAA7771F-5297-FD07-603C-C846784F508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968285">
              <a:extLst>
                <a:ext uri="{FF2B5EF4-FFF2-40B4-BE49-F238E27FC236}">
                  <a16:creationId xmlns:a16="http://schemas.microsoft.com/office/drawing/2014/main" id="{E90F2F62-21E9-D57D-B99A-45230EFF9A3B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743969">
              <a:extLst>
                <a:ext uri="{FF2B5EF4-FFF2-40B4-BE49-F238E27FC236}">
                  <a16:creationId xmlns:a16="http://schemas.microsoft.com/office/drawing/2014/main" id="{5D2B9213-D191-0129-107B-B838852E392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CF3972C7-6D45-28F6-82AE-62898154B1F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533557">
              <a:extLst>
                <a:ext uri="{FF2B5EF4-FFF2-40B4-BE49-F238E27FC236}">
                  <a16:creationId xmlns:a16="http://schemas.microsoft.com/office/drawing/2014/main" id="{F325574C-B947-7BF0-EF92-B9F8894E8E6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706763">
              <a:extLst>
                <a:ext uri="{FF2B5EF4-FFF2-40B4-BE49-F238E27FC236}">
                  <a16:creationId xmlns:a16="http://schemas.microsoft.com/office/drawing/2014/main" id="{96AE06BD-B803-F0DC-9A70-A0A5A402BF32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343894">
              <a:extLst>
                <a:ext uri="{FF2B5EF4-FFF2-40B4-BE49-F238E27FC236}">
                  <a16:creationId xmlns:a16="http://schemas.microsoft.com/office/drawing/2014/main" id="{E9586AD1-E241-8846-2B11-6245D495B87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505101">
              <a:extLst>
                <a:ext uri="{FF2B5EF4-FFF2-40B4-BE49-F238E27FC236}">
                  <a16:creationId xmlns:a16="http://schemas.microsoft.com/office/drawing/2014/main" id="{BE843D66-1A01-9F5F-115D-359F2BDD4290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A4FC8D8F-1617-4B0F-B608-D88591E3A5F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6316786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Diapositiva think-cell" r:id="rId8" imgW="592" imgH="595" progId="TCLayout.ActiveDocument.1">
                  <p:embed/>
                </p:oleObj>
              </mc:Choice>
              <mc:Fallback>
                <p:oleObj name="Diapositiva think-cell" r:id="rId8" imgW="592" imgH="595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A4FC8D8F-1617-4B0F-B608-D88591E3A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4EC23B-D565-4845-A6C4-AF818A9A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sz="2133" dirty="0"/>
              <a:t>La maggiore flessibilità e il risparmio di tempo offerti dalle università online sono le principali motivazioni di iscrizione evidenziate dagli studenti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EECB49B-CA36-BD35-9FFF-848D828A1FBD}"/>
              </a:ext>
            </a:extLst>
          </p:cNvPr>
          <p:cNvSpPr txBox="1"/>
          <p:nvPr/>
        </p:nvSpPr>
        <p:spPr bwMode="gray">
          <a:xfrm>
            <a:off x="334963" y="1695451"/>
            <a:ext cx="11522073" cy="241980"/>
          </a:xfrm>
          <a:prstGeom prst="rect">
            <a:avLst/>
          </a:prstGeom>
          <a:solidFill>
            <a:srgbClr val="D6D6D6">
              <a:alpha val="25000"/>
            </a:srgbClr>
          </a:solidFill>
          <a:ln w="9525" cap="flat" cmpd="sng" algn="ctr">
            <a:solidFill>
              <a:srgbClr val="858585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buNone/>
            </a:pPr>
            <a:r>
              <a:rPr lang="it-IT" sz="1100" b="1" i="1" dirty="0">
                <a:solidFill>
                  <a:srgbClr val="620013"/>
                </a:solidFill>
              </a:rPr>
              <a:t>Quali motivazioni ti hanno spinto a scegliere l'iscrizione a un'università online rispetto a una tradizionale?</a:t>
            </a:r>
            <a:endParaRPr lang="en-US" sz="1100" b="1" i="1" dirty="0">
              <a:solidFill>
                <a:srgbClr val="620013"/>
              </a:solidFill>
            </a:endParaRPr>
          </a:p>
        </p:txBody>
      </p:sp>
      <p:sp>
        <p:nvSpPr>
          <p:cNvPr id="22" name="btfpRunningAgenda2LevelBarLeft587740">
            <a:extLst>
              <a:ext uri="{FF2B5EF4-FFF2-40B4-BE49-F238E27FC236}">
                <a16:creationId xmlns:a16="http://schemas.microsoft.com/office/drawing/2014/main" id="{108F4DC0-D5BD-889C-BE38-E646C05C8B52}"/>
              </a:ext>
            </a:extLst>
          </p:cNvPr>
          <p:cNvSpPr/>
          <p:nvPr/>
        </p:nvSpPr>
        <p:spPr bwMode="gray">
          <a:xfrm>
            <a:off x="0" y="944429"/>
            <a:ext cx="3320039" cy="257442"/>
          </a:xfrm>
          <a:custGeom>
            <a:avLst/>
            <a:gdLst>
              <a:gd name="connsiteX0" fmla="*/ 950801 w 3573314"/>
              <a:gd name="connsiteY0" fmla="*/ 0 h 257442"/>
              <a:gd name="connsiteX1" fmla="*/ 3573314 w 3573314"/>
              <a:gd name="connsiteY1" fmla="*/ 0 h 257442"/>
              <a:gd name="connsiteX2" fmla="*/ 3518593 w 3573314"/>
              <a:gd name="connsiteY2" fmla="*/ 257442 h 257442"/>
              <a:gd name="connsiteX3" fmla="*/ 0 w 3573314"/>
              <a:gd name="connsiteY3" fmla="*/ 257442 h 257442"/>
              <a:gd name="connsiteX0" fmla="*/ 950801 w 3518593"/>
              <a:gd name="connsiteY0" fmla="*/ 0 h 257442"/>
              <a:gd name="connsiteX1" fmla="*/ 896080 w 3518593"/>
              <a:gd name="connsiteY1" fmla="*/ 257442 h 257442"/>
              <a:gd name="connsiteX2" fmla="*/ 3518593 w 3518593"/>
              <a:gd name="connsiteY2" fmla="*/ 257442 h 257442"/>
              <a:gd name="connsiteX3" fmla="*/ 0 w 3518593"/>
              <a:gd name="connsiteY3" fmla="*/ 257442 h 257442"/>
              <a:gd name="connsiteX0" fmla="*/ 950801 w 950801"/>
              <a:gd name="connsiteY0" fmla="*/ 0 h 257442"/>
              <a:gd name="connsiteX1" fmla="*/ 896080 w 950801"/>
              <a:gd name="connsiteY1" fmla="*/ 257442 h 257442"/>
              <a:gd name="connsiteX2" fmla="*/ 1 w 950801"/>
              <a:gd name="connsiteY2" fmla="*/ 257442 h 257442"/>
              <a:gd name="connsiteX3" fmla="*/ 0 w 950801"/>
              <a:gd name="connsiteY3" fmla="*/ 257442 h 257442"/>
              <a:gd name="connsiteX0" fmla="*/ 950800 w 950800"/>
              <a:gd name="connsiteY0" fmla="*/ 0 h 257442"/>
              <a:gd name="connsiteX1" fmla="*/ 896079 w 950800"/>
              <a:gd name="connsiteY1" fmla="*/ 257442 h 257442"/>
              <a:gd name="connsiteX2" fmla="*/ 0 w 950800"/>
              <a:gd name="connsiteY2" fmla="*/ 257442 h 257442"/>
              <a:gd name="connsiteX3" fmla="*/ 0 w 950800"/>
              <a:gd name="connsiteY3" fmla="*/ 0 h 257442"/>
              <a:gd name="connsiteX0" fmla="*/ 1119115 w 1119115"/>
              <a:gd name="connsiteY0" fmla="*/ 0 h 257442"/>
              <a:gd name="connsiteX1" fmla="*/ 896079 w 1119115"/>
              <a:gd name="connsiteY1" fmla="*/ 257442 h 257442"/>
              <a:gd name="connsiteX2" fmla="*/ 0 w 1119115"/>
              <a:gd name="connsiteY2" fmla="*/ 257442 h 257442"/>
              <a:gd name="connsiteX3" fmla="*/ 0 w 1119115"/>
              <a:gd name="connsiteY3" fmla="*/ 0 h 257442"/>
              <a:gd name="connsiteX0" fmla="*/ 1119115 w 1119115"/>
              <a:gd name="connsiteY0" fmla="*/ 0 h 257442"/>
              <a:gd name="connsiteX1" fmla="*/ 1064394 w 1119115"/>
              <a:gd name="connsiteY1" fmla="*/ 257442 h 257442"/>
              <a:gd name="connsiteX2" fmla="*/ 0 w 1119115"/>
              <a:gd name="connsiteY2" fmla="*/ 257442 h 257442"/>
              <a:gd name="connsiteX3" fmla="*/ 0 w 1119115"/>
              <a:gd name="connsiteY3" fmla="*/ 0 h 257442"/>
              <a:gd name="connsiteX0" fmla="*/ 1119116 w 1119116"/>
              <a:gd name="connsiteY0" fmla="*/ 0 h 257442"/>
              <a:gd name="connsiteX1" fmla="*/ 1064395 w 1119116"/>
              <a:gd name="connsiteY1" fmla="*/ 257442 h 257442"/>
              <a:gd name="connsiteX2" fmla="*/ 0 w 1119116"/>
              <a:gd name="connsiteY2" fmla="*/ 257442 h 257442"/>
              <a:gd name="connsiteX3" fmla="*/ 1 w 1119116"/>
              <a:gd name="connsiteY3" fmla="*/ 0 h 257442"/>
              <a:gd name="connsiteX0" fmla="*/ 1119116 w 1119116"/>
              <a:gd name="connsiteY0" fmla="*/ 0 h 257442"/>
              <a:gd name="connsiteX1" fmla="*/ 1064395 w 1119116"/>
              <a:gd name="connsiteY1" fmla="*/ 257442 h 257442"/>
              <a:gd name="connsiteX2" fmla="*/ 0 w 1119116"/>
              <a:gd name="connsiteY2" fmla="*/ 257442 h 257442"/>
              <a:gd name="connsiteX3" fmla="*/ 0 w 1119116"/>
              <a:gd name="connsiteY3" fmla="*/ 0 h 257442"/>
              <a:gd name="connsiteX0" fmla="*/ 1220106 w 1220106"/>
              <a:gd name="connsiteY0" fmla="*/ 0 h 257442"/>
              <a:gd name="connsiteX1" fmla="*/ 1064395 w 1220106"/>
              <a:gd name="connsiteY1" fmla="*/ 257442 h 257442"/>
              <a:gd name="connsiteX2" fmla="*/ 0 w 1220106"/>
              <a:gd name="connsiteY2" fmla="*/ 257442 h 257442"/>
              <a:gd name="connsiteX3" fmla="*/ 0 w 1220106"/>
              <a:gd name="connsiteY3" fmla="*/ 0 h 257442"/>
              <a:gd name="connsiteX0" fmla="*/ 1220106 w 1220106"/>
              <a:gd name="connsiteY0" fmla="*/ 0 h 257442"/>
              <a:gd name="connsiteX1" fmla="*/ 1165385 w 1220106"/>
              <a:gd name="connsiteY1" fmla="*/ 257442 h 257442"/>
              <a:gd name="connsiteX2" fmla="*/ 0 w 1220106"/>
              <a:gd name="connsiteY2" fmla="*/ 257442 h 257442"/>
              <a:gd name="connsiteX3" fmla="*/ 0 w 1220106"/>
              <a:gd name="connsiteY3" fmla="*/ 0 h 257442"/>
              <a:gd name="connsiteX0" fmla="*/ 1220106 w 1220106"/>
              <a:gd name="connsiteY0" fmla="*/ 0 h 257442"/>
              <a:gd name="connsiteX1" fmla="*/ 1165385 w 1220106"/>
              <a:gd name="connsiteY1" fmla="*/ 257442 h 257442"/>
              <a:gd name="connsiteX2" fmla="*/ 0 w 1220106"/>
              <a:gd name="connsiteY2" fmla="*/ 257442 h 257442"/>
              <a:gd name="connsiteX3" fmla="*/ 0 w 1220106"/>
              <a:gd name="connsiteY3" fmla="*/ 0 h 257442"/>
              <a:gd name="connsiteX0" fmla="*/ 1220106 w 1220106"/>
              <a:gd name="connsiteY0" fmla="*/ 0 h 257442"/>
              <a:gd name="connsiteX1" fmla="*/ 1165385 w 1220106"/>
              <a:gd name="connsiteY1" fmla="*/ 257442 h 257442"/>
              <a:gd name="connsiteX2" fmla="*/ 0 w 1220106"/>
              <a:gd name="connsiteY2" fmla="*/ 257442 h 257442"/>
              <a:gd name="connsiteX3" fmla="*/ 0 w 1220106"/>
              <a:gd name="connsiteY3" fmla="*/ 0 h 257442"/>
              <a:gd name="connsiteX0" fmla="*/ 1380406 w 1380406"/>
              <a:gd name="connsiteY0" fmla="*/ 0 h 257442"/>
              <a:gd name="connsiteX1" fmla="*/ 1165385 w 1380406"/>
              <a:gd name="connsiteY1" fmla="*/ 257442 h 257442"/>
              <a:gd name="connsiteX2" fmla="*/ 0 w 1380406"/>
              <a:gd name="connsiteY2" fmla="*/ 257442 h 257442"/>
              <a:gd name="connsiteX3" fmla="*/ 0 w 1380406"/>
              <a:gd name="connsiteY3" fmla="*/ 0 h 257442"/>
              <a:gd name="connsiteX0" fmla="*/ 1380406 w 1380406"/>
              <a:gd name="connsiteY0" fmla="*/ 0 h 257442"/>
              <a:gd name="connsiteX1" fmla="*/ 1325685 w 1380406"/>
              <a:gd name="connsiteY1" fmla="*/ 257442 h 257442"/>
              <a:gd name="connsiteX2" fmla="*/ 0 w 1380406"/>
              <a:gd name="connsiteY2" fmla="*/ 257442 h 257442"/>
              <a:gd name="connsiteX3" fmla="*/ 0 w 1380406"/>
              <a:gd name="connsiteY3" fmla="*/ 0 h 257442"/>
              <a:gd name="connsiteX0" fmla="*/ 1380406 w 1380406"/>
              <a:gd name="connsiteY0" fmla="*/ 0 h 257442"/>
              <a:gd name="connsiteX1" fmla="*/ 1325685 w 1380406"/>
              <a:gd name="connsiteY1" fmla="*/ 257442 h 257442"/>
              <a:gd name="connsiteX2" fmla="*/ 0 w 1380406"/>
              <a:gd name="connsiteY2" fmla="*/ 257442 h 257442"/>
              <a:gd name="connsiteX3" fmla="*/ 0 w 1380406"/>
              <a:gd name="connsiteY3" fmla="*/ 0 h 257442"/>
              <a:gd name="connsiteX0" fmla="*/ 1380406 w 1380406"/>
              <a:gd name="connsiteY0" fmla="*/ 0 h 257442"/>
              <a:gd name="connsiteX1" fmla="*/ 1325685 w 1380406"/>
              <a:gd name="connsiteY1" fmla="*/ 257442 h 257442"/>
              <a:gd name="connsiteX2" fmla="*/ 0 w 1380406"/>
              <a:gd name="connsiteY2" fmla="*/ 257442 h 257442"/>
              <a:gd name="connsiteX3" fmla="*/ 0 w 1380406"/>
              <a:gd name="connsiteY3" fmla="*/ 0 h 257442"/>
              <a:gd name="connsiteX0" fmla="*/ 1540706 w 1540706"/>
              <a:gd name="connsiteY0" fmla="*/ 0 h 257442"/>
              <a:gd name="connsiteX1" fmla="*/ 1325685 w 1540706"/>
              <a:gd name="connsiteY1" fmla="*/ 257442 h 257442"/>
              <a:gd name="connsiteX2" fmla="*/ 0 w 1540706"/>
              <a:gd name="connsiteY2" fmla="*/ 257442 h 257442"/>
              <a:gd name="connsiteX3" fmla="*/ 0 w 1540706"/>
              <a:gd name="connsiteY3" fmla="*/ 0 h 257442"/>
              <a:gd name="connsiteX0" fmla="*/ 1540706 w 1540706"/>
              <a:gd name="connsiteY0" fmla="*/ 0 h 257442"/>
              <a:gd name="connsiteX1" fmla="*/ 1485985 w 1540706"/>
              <a:gd name="connsiteY1" fmla="*/ 257442 h 257442"/>
              <a:gd name="connsiteX2" fmla="*/ 0 w 1540706"/>
              <a:gd name="connsiteY2" fmla="*/ 257442 h 257442"/>
              <a:gd name="connsiteX3" fmla="*/ 0 w 1540706"/>
              <a:gd name="connsiteY3" fmla="*/ 0 h 257442"/>
              <a:gd name="connsiteX0" fmla="*/ 1540706 w 1540706"/>
              <a:gd name="connsiteY0" fmla="*/ 0 h 257442"/>
              <a:gd name="connsiteX1" fmla="*/ 1485985 w 1540706"/>
              <a:gd name="connsiteY1" fmla="*/ 257442 h 257442"/>
              <a:gd name="connsiteX2" fmla="*/ 0 w 1540706"/>
              <a:gd name="connsiteY2" fmla="*/ 257442 h 257442"/>
              <a:gd name="connsiteX3" fmla="*/ 0 w 1540706"/>
              <a:gd name="connsiteY3" fmla="*/ 0 h 257442"/>
              <a:gd name="connsiteX0" fmla="*/ 1540706 w 1540706"/>
              <a:gd name="connsiteY0" fmla="*/ 0 h 257442"/>
              <a:gd name="connsiteX1" fmla="*/ 1485985 w 1540706"/>
              <a:gd name="connsiteY1" fmla="*/ 257442 h 257442"/>
              <a:gd name="connsiteX2" fmla="*/ 0 w 1540706"/>
              <a:gd name="connsiteY2" fmla="*/ 257442 h 257442"/>
              <a:gd name="connsiteX3" fmla="*/ 0 w 1540706"/>
              <a:gd name="connsiteY3" fmla="*/ 0 h 257442"/>
              <a:gd name="connsiteX0" fmla="*/ 1709021 w 1709021"/>
              <a:gd name="connsiteY0" fmla="*/ 0 h 257442"/>
              <a:gd name="connsiteX1" fmla="*/ 1485985 w 1709021"/>
              <a:gd name="connsiteY1" fmla="*/ 257442 h 257442"/>
              <a:gd name="connsiteX2" fmla="*/ 0 w 1709021"/>
              <a:gd name="connsiteY2" fmla="*/ 257442 h 257442"/>
              <a:gd name="connsiteX3" fmla="*/ 0 w 1709021"/>
              <a:gd name="connsiteY3" fmla="*/ 0 h 257442"/>
              <a:gd name="connsiteX0" fmla="*/ 1709021 w 1709021"/>
              <a:gd name="connsiteY0" fmla="*/ 0 h 257442"/>
              <a:gd name="connsiteX1" fmla="*/ 1654300 w 1709021"/>
              <a:gd name="connsiteY1" fmla="*/ 257442 h 257442"/>
              <a:gd name="connsiteX2" fmla="*/ 0 w 1709021"/>
              <a:gd name="connsiteY2" fmla="*/ 257442 h 257442"/>
              <a:gd name="connsiteX3" fmla="*/ 0 w 1709021"/>
              <a:gd name="connsiteY3" fmla="*/ 0 h 257442"/>
              <a:gd name="connsiteX0" fmla="*/ 1709021 w 1709021"/>
              <a:gd name="connsiteY0" fmla="*/ 0 h 257442"/>
              <a:gd name="connsiteX1" fmla="*/ 1654300 w 1709021"/>
              <a:gd name="connsiteY1" fmla="*/ 257442 h 257442"/>
              <a:gd name="connsiteX2" fmla="*/ 0 w 1709021"/>
              <a:gd name="connsiteY2" fmla="*/ 257442 h 257442"/>
              <a:gd name="connsiteX3" fmla="*/ 0 w 1709021"/>
              <a:gd name="connsiteY3" fmla="*/ 0 h 257442"/>
              <a:gd name="connsiteX0" fmla="*/ 1709021 w 1709021"/>
              <a:gd name="connsiteY0" fmla="*/ 0 h 257442"/>
              <a:gd name="connsiteX1" fmla="*/ 1654300 w 1709021"/>
              <a:gd name="connsiteY1" fmla="*/ 257442 h 257442"/>
              <a:gd name="connsiteX2" fmla="*/ 0 w 1709021"/>
              <a:gd name="connsiteY2" fmla="*/ 257442 h 257442"/>
              <a:gd name="connsiteX3" fmla="*/ 0 w 1709021"/>
              <a:gd name="connsiteY3" fmla="*/ 0 h 257442"/>
              <a:gd name="connsiteX0" fmla="*/ 1869321 w 1869321"/>
              <a:gd name="connsiteY0" fmla="*/ 0 h 257442"/>
              <a:gd name="connsiteX1" fmla="*/ 1654300 w 1869321"/>
              <a:gd name="connsiteY1" fmla="*/ 257442 h 257442"/>
              <a:gd name="connsiteX2" fmla="*/ 0 w 1869321"/>
              <a:gd name="connsiteY2" fmla="*/ 257442 h 257442"/>
              <a:gd name="connsiteX3" fmla="*/ 0 w 1869321"/>
              <a:gd name="connsiteY3" fmla="*/ 0 h 257442"/>
              <a:gd name="connsiteX0" fmla="*/ 1869321 w 1869321"/>
              <a:gd name="connsiteY0" fmla="*/ 0 h 257442"/>
              <a:gd name="connsiteX1" fmla="*/ 1814600 w 1869321"/>
              <a:gd name="connsiteY1" fmla="*/ 257442 h 257442"/>
              <a:gd name="connsiteX2" fmla="*/ 0 w 1869321"/>
              <a:gd name="connsiteY2" fmla="*/ 257442 h 257442"/>
              <a:gd name="connsiteX3" fmla="*/ 0 w 1869321"/>
              <a:gd name="connsiteY3" fmla="*/ 0 h 257442"/>
              <a:gd name="connsiteX0" fmla="*/ 1869321 w 1869321"/>
              <a:gd name="connsiteY0" fmla="*/ 0 h 257442"/>
              <a:gd name="connsiteX1" fmla="*/ 1814600 w 1869321"/>
              <a:gd name="connsiteY1" fmla="*/ 257442 h 257442"/>
              <a:gd name="connsiteX2" fmla="*/ 0 w 1869321"/>
              <a:gd name="connsiteY2" fmla="*/ 257442 h 257442"/>
              <a:gd name="connsiteX3" fmla="*/ 0 w 1869321"/>
              <a:gd name="connsiteY3" fmla="*/ 0 h 257442"/>
              <a:gd name="connsiteX0" fmla="*/ 1869321 w 1869321"/>
              <a:gd name="connsiteY0" fmla="*/ 0 h 257442"/>
              <a:gd name="connsiteX1" fmla="*/ 1814600 w 1869321"/>
              <a:gd name="connsiteY1" fmla="*/ 257442 h 257442"/>
              <a:gd name="connsiteX2" fmla="*/ 0 w 1869321"/>
              <a:gd name="connsiteY2" fmla="*/ 257442 h 257442"/>
              <a:gd name="connsiteX3" fmla="*/ 0 w 1869321"/>
              <a:gd name="connsiteY3" fmla="*/ 0 h 257442"/>
              <a:gd name="connsiteX0" fmla="*/ 1970311 w 1970311"/>
              <a:gd name="connsiteY0" fmla="*/ 0 h 257442"/>
              <a:gd name="connsiteX1" fmla="*/ 1814600 w 1970311"/>
              <a:gd name="connsiteY1" fmla="*/ 257442 h 257442"/>
              <a:gd name="connsiteX2" fmla="*/ 0 w 1970311"/>
              <a:gd name="connsiteY2" fmla="*/ 257442 h 257442"/>
              <a:gd name="connsiteX3" fmla="*/ 0 w 1970311"/>
              <a:gd name="connsiteY3" fmla="*/ 0 h 257442"/>
              <a:gd name="connsiteX0" fmla="*/ 1970311 w 1970311"/>
              <a:gd name="connsiteY0" fmla="*/ 0 h 257442"/>
              <a:gd name="connsiteX1" fmla="*/ 1915590 w 1970311"/>
              <a:gd name="connsiteY1" fmla="*/ 257442 h 257442"/>
              <a:gd name="connsiteX2" fmla="*/ 0 w 1970311"/>
              <a:gd name="connsiteY2" fmla="*/ 257442 h 257442"/>
              <a:gd name="connsiteX3" fmla="*/ 0 w 1970311"/>
              <a:gd name="connsiteY3" fmla="*/ 0 h 257442"/>
              <a:gd name="connsiteX0" fmla="*/ 1970311 w 1970311"/>
              <a:gd name="connsiteY0" fmla="*/ 0 h 257442"/>
              <a:gd name="connsiteX1" fmla="*/ 1915590 w 1970311"/>
              <a:gd name="connsiteY1" fmla="*/ 257442 h 257442"/>
              <a:gd name="connsiteX2" fmla="*/ 0 w 1970311"/>
              <a:gd name="connsiteY2" fmla="*/ 257442 h 257442"/>
              <a:gd name="connsiteX3" fmla="*/ 0 w 1970311"/>
              <a:gd name="connsiteY3" fmla="*/ 0 h 257442"/>
              <a:gd name="connsiteX0" fmla="*/ 1970311 w 1970311"/>
              <a:gd name="connsiteY0" fmla="*/ 0 h 257442"/>
              <a:gd name="connsiteX1" fmla="*/ 1915590 w 1970311"/>
              <a:gd name="connsiteY1" fmla="*/ 257442 h 257442"/>
              <a:gd name="connsiteX2" fmla="*/ 0 w 1970311"/>
              <a:gd name="connsiteY2" fmla="*/ 257442 h 257442"/>
              <a:gd name="connsiteX3" fmla="*/ 0 w 1970311"/>
              <a:gd name="connsiteY3" fmla="*/ 0 h 257442"/>
              <a:gd name="connsiteX0" fmla="*/ 2122596 w 2122596"/>
              <a:gd name="connsiteY0" fmla="*/ 0 h 257442"/>
              <a:gd name="connsiteX1" fmla="*/ 1915590 w 2122596"/>
              <a:gd name="connsiteY1" fmla="*/ 257442 h 257442"/>
              <a:gd name="connsiteX2" fmla="*/ 0 w 2122596"/>
              <a:gd name="connsiteY2" fmla="*/ 257442 h 257442"/>
              <a:gd name="connsiteX3" fmla="*/ 0 w 2122596"/>
              <a:gd name="connsiteY3" fmla="*/ 0 h 257442"/>
              <a:gd name="connsiteX0" fmla="*/ 2122596 w 2122596"/>
              <a:gd name="connsiteY0" fmla="*/ 0 h 257442"/>
              <a:gd name="connsiteX1" fmla="*/ 2067874 w 2122596"/>
              <a:gd name="connsiteY1" fmla="*/ 257442 h 257442"/>
              <a:gd name="connsiteX2" fmla="*/ 0 w 2122596"/>
              <a:gd name="connsiteY2" fmla="*/ 257442 h 257442"/>
              <a:gd name="connsiteX3" fmla="*/ 0 w 2122596"/>
              <a:gd name="connsiteY3" fmla="*/ 0 h 257442"/>
              <a:gd name="connsiteX0" fmla="*/ 2122597 w 2122597"/>
              <a:gd name="connsiteY0" fmla="*/ 0 h 257442"/>
              <a:gd name="connsiteX1" fmla="*/ 2067875 w 2122597"/>
              <a:gd name="connsiteY1" fmla="*/ 257442 h 257442"/>
              <a:gd name="connsiteX2" fmla="*/ 0 w 2122597"/>
              <a:gd name="connsiteY2" fmla="*/ 257442 h 257442"/>
              <a:gd name="connsiteX3" fmla="*/ 1 w 2122597"/>
              <a:gd name="connsiteY3" fmla="*/ 0 h 257442"/>
              <a:gd name="connsiteX0" fmla="*/ 2122597 w 2122597"/>
              <a:gd name="connsiteY0" fmla="*/ 0 h 257442"/>
              <a:gd name="connsiteX1" fmla="*/ 2067875 w 2122597"/>
              <a:gd name="connsiteY1" fmla="*/ 257442 h 257442"/>
              <a:gd name="connsiteX2" fmla="*/ 0 w 2122597"/>
              <a:gd name="connsiteY2" fmla="*/ 257442 h 257442"/>
              <a:gd name="connsiteX3" fmla="*/ 1 w 2122597"/>
              <a:gd name="connsiteY3" fmla="*/ 0 h 257442"/>
              <a:gd name="connsiteX0" fmla="*/ 2290913 w 2290913"/>
              <a:gd name="connsiteY0" fmla="*/ 0 h 257442"/>
              <a:gd name="connsiteX1" fmla="*/ 2067875 w 2290913"/>
              <a:gd name="connsiteY1" fmla="*/ 257442 h 257442"/>
              <a:gd name="connsiteX2" fmla="*/ 0 w 2290913"/>
              <a:gd name="connsiteY2" fmla="*/ 257442 h 257442"/>
              <a:gd name="connsiteX3" fmla="*/ 1 w 2290913"/>
              <a:gd name="connsiteY3" fmla="*/ 0 h 257442"/>
              <a:gd name="connsiteX0" fmla="*/ 2290913 w 2290913"/>
              <a:gd name="connsiteY0" fmla="*/ 0 h 257442"/>
              <a:gd name="connsiteX1" fmla="*/ 2236192 w 2290913"/>
              <a:gd name="connsiteY1" fmla="*/ 257442 h 257442"/>
              <a:gd name="connsiteX2" fmla="*/ 0 w 2290913"/>
              <a:gd name="connsiteY2" fmla="*/ 257442 h 257442"/>
              <a:gd name="connsiteX3" fmla="*/ 1 w 2290913"/>
              <a:gd name="connsiteY3" fmla="*/ 0 h 257442"/>
              <a:gd name="connsiteX0" fmla="*/ 2290912 w 2290912"/>
              <a:gd name="connsiteY0" fmla="*/ 0 h 257442"/>
              <a:gd name="connsiteX1" fmla="*/ 2236191 w 2290912"/>
              <a:gd name="connsiteY1" fmla="*/ 257442 h 257442"/>
              <a:gd name="connsiteX2" fmla="*/ 0 w 2290912"/>
              <a:gd name="connsiteY2" fmla="*/ 257442 h 257442"/>
              <a:gd name="connsiteX3" fmla="*/ 0 w 2290912"/>
              <a:gd name="connsiteY3" fmla="*/ 0 h 257442"/>
              <a:gd name="connsiteX0" fmla="*/ 2290913 w 2290913"/>
              <a:gd name="connsiteY0" fmla="*/ 0 h 257442"/>
              <a:gd name="connsiteX1" fmla="*/ 2236192 w 2290913"/>
              <a:gd name="connsiteY1" fmla="*/ 257442 h 257442"/>
              <a:gd name="connsiteX2" fmla="*/ 1 w 2290913"/>
              <a:gd name="connsiteY2" fmla="*/ 257442 h 257442"/>
              <a:gd name="connsiteX3" fmla="*/ 0 w 2290913"/>
              <a:gd name="connsiteY3" fmla="*/ 0 h 257442"/>
              <a:gd name="connsiteX0" fmla="*/ 2391901 w 2391901"/>
              <a:gd name="connsiteY0" fmla="*/ 0 h 257442"/>
              <a:gd name="connsiteX1" fmla="*/ 2236192 w 2391901"/>
              <a:gd name="connsiteY1" fmla="*/ 257442 h 257442"/>
              <a:gd name="connsiteX2" fmla="*/ 1 w 2391901"/>
              <a:gd name="connsiteY2" fmla="*/ 257442 h 257442"/>
              <a:gd name="connsiteX3" fmla="*/ 0 w 2391901"/>
              <a:gd name="connsiteY3" fmla="*/ 0 h 257442"/>
              <a:gd name="connsiteX0" fmla="*/ 2391901 w 2391901"/>
              <a:gd name="connsiteY0" fmla="*/ 0 h 257442"/>
              <a:gd name="connsiteX1" fmla="*/ 2337180 w 2391901"/>
              <a:gd name="connsiteY1" fmla="*/ 257442 h 257442"/>
              <a:gd name="connsiteX2" fmla="*/ 1 w 2391901"/>
              <a:gd name="connsiteY2" fmla="*/ 257442 h 257442"/>
              <a:gd name="connsiteX3" fmla="*/ 0 w 2391901"/>
              <a:gd name="connsiteY3" fmla="*/ 0 h 257442"/>
              <a:gd name="connsiteX0" fmla="*/ 2391901 w 2391901"/>
              <a:gd name="connsiteY0" fmla="*/ 0 h 257442"/>
              <a:gd name="connsiteX1" fmla="*/ 2337180 w 2391901"/>
              <a:gd name="connsiteY1" fmla="*/ 257442 h 257442"/>
              <a:gd name="connsiteX2" fmla="*/ 1 w 2391901"/>
              <a:gd name="connsiteY2" fmla="*/ 257442 h 257442"/>
              <a:gd name="connsiteX3" fmla="*/ 0 w 2391901"/>
              <a:gd name="connsiteY3" fmla="*/ 0 h 257442"/>
              <a:gd name="connsiteX0" fmla="*/ 2391900 w 2391900"/>
              <a:gd name="connsiteY0" fmla="*/ 0 h 257442"/>
              <a:gd name="connsiteX1" fmla="*/ 2337179 w 2391900"/>
              <a:gd name="connsiteY1" fmla="*/ 257442 h 257442"/>
              <a:gd name="connsiteX2" fmla="*/ 0 w 2391900"/>
              <a:gd name="connsiteY2" fmla="*/ 257442 h 257442"/>
              <a:gd name="connsiteX3" fmla="*/ 0 w 2391900"/>
              <a:gd name="connsiteY3" fmla="*/ 0 h 257442"/>
              <a:gd name="connsiteX0" fmla="*/ 2569833 w 2569833"/>
              <a:gd name="connsiteY0" fmla="*/ 0 h 257442"/>
              <a:gd name="connsiteX1" fmla="*/ 2337179 w 2569833"/>
              <a:gd name="connsiteY1" fmla="*/ 257442 h 257442"/>
              <a:gd name="connsiteX2" fmla="*/ 0 w 2569833"/>
              <a:gd name="connsiteY2" fmla="*/ 257442 h 257442"/>
              <a:gd name="connsiteX3" fmla="*/ 0 w 2569833"/>
              <a:gd name="connsiteY3" fmla="*/ 0 h 257442"/>
              <a:gd name="connsiteX0" fmla="*/ 2569833 w 2569833"/>
              <a:gd name="connsiteY0" fmla="*/ 0 h 257442"/>
              <a:gd name="connsiteX1" fmla="*/ 2515112 w 2569833"/>
              <a:gd name="connsiteY1" fmla="*/ 257442 h 257442"/>
              <a:gd name="connsiteX2" fmla="*/ 0 w 2569833"/>
              <a:gd name="connsiteY2" fmla="*/ 257442 h 257442"/>
              <a:gd name="connsiteX3" fmla="*/ 0 w 2569833"/>
              <a:gd name="connsiteY3" fmla="*/ 0 h 257442"/>
              <a:gd name="connsiteX0" fmla="*/ 2569834 w 2569834"/>
              <a:gd name="connsiteY0" fmla="*/ 0 h 257442"/>
              <a:gd name="connsiteX1" fmla="*/ 2515113 w 2569834"/>
              <a:gd name="connsiteY1" fmla="*/ 257442 h 257442"/>
              <a:gd name="connsiteX2" fmla="*/ 0 w 2569834"/>
              <a:gd name="connsiteY2" fmla="*/ 257442 h 257442"/>
              <a:gd name="connsiteX3" fmla="*/ 1 w 2569834"/>
              <a:gd name="connsiteY3" fmla="*/ 0 h 257442"/>
              <a:gd name="connsiteX0" fmla="*/ 2569834 w 2569834"/>
              <a:gd name="connsiteY0" fmla="*/ 0 h 257442"/>
              <a:gd name="connsiteX1" fmla="*/ 2515113 w 2569834"/>
              <a:gd name="connsiteY1" fmla="*/ 257442 h 257442"/>
              <a:gd name="connsiteX2" fmla="*/ 0 w 2569834"/>
              <a:gd name="connsiteY2" fmla="*/ 257442 h 257442"/>
              <a:gd name="connsiteX3" fmla="*/ 0 w 2569834"/>
              <a:gd name="connsiteY3" fmla="*/ 0 h 257442"/>
              <a:gd name="connsiteX0" fmla="*/ 2738149 w 2738149"/>
              <a:gd name="connsiteY0" fmla="*/ 0 h 257442"/>
              <a:gd name="connsiteX1" fmla="*/ 2515113 w 2738149"/>
              <a:gd name="connsiteY1" fmla="*/ 257442 h 257442"/>
              <a:gd name="connsiteX2" fmla="*/ 0 w 2738149"/>
              <a:gd name="connsiteY2" fmla="*/ 257442 h 257442"/>
              <a:gd name="connsiteX3" fmla="*/ 0 w 2738149"/>
              <a:gd name="connsiteY3" fmla="*/ 0 h 257442"/>
              <a:gd name="connsiteX0" fmla="*/ 2738149 w 2738149"/>
              <a:gd name="connsiteY0" fmla="*/ 0 h 257442"/>
              <a:gd name="connsiteX1" fmla="*/ 2683428 w 2738149"/>
              <a:gd name="connsiteY1" fmla="*/ 257442 h 257442"/>
              <a:gd name="connsiteX2" fmla="*/ 0 w 2738149"/>
              <a:gd name="connsiteY2" fmla="*/ 257442 h 257442"/>
              <a:gd name="connsiteX3" fmla="*/ 0 w 2738149"/>
              <a:gd name="connsiteY3" fmla="*/ 0 h 257442"/>
              <a:gd name="connsiteX0" fmla="*/ 2738149 w 2738149"/>
              <a:gd name="connsiteY0" fmla="*/ 0 h 257442"/>
              <a:gd name="connsiteX1" fmla="*/ 2683428 w 2738149"/>
              <a:gd name="connsiteY1" fmla="*/ 257442 h 257442"/>
              <a:gd name="connsiteX2" fmla="*/ 0 w 2738149"/>
              <a:gd name="connsiteY2" fmla="*/ 257442 h 257442"/>
              <a:gd name="connsiteX3" fmla="*/ 0 w 2738149"/>
              <a:gd name="connsiteY3" fmla="*/ 0 h 257442"/>
              <a:gd name="connsiteX0" fmla="*/ 2738149 w 2738149"/>
              <a:gd name="connsiteY0" fmla="*/ 0 h 257442"/>
              <a:gd name="connsiteX1" fmla="*/ 2683428 w 2738149"/>
              <a:gd name="connsiteY1" fmla="*/ 257442 h 257442"/>
              <a:gd name="connsiteX2" fmla="*/ 0 w 2738149"/>
              <a:gd name="connsiteY2" fmla="*/ 257442 h 257442"/>
              <a:gd name="connsiteX3" fmla="*/ 0 w 2738149"/>
              <a:gd name="connsiteY3" fmla="*/ 0 h 257442"/>
              <a:gd name="connsiteX0" fmla="*/ 2890435 w 2890435"/>
              <a:gd name="connsiteY0" fmla="*/ 0 h 257442"/>
              <a:gd name="connsiteX1" fmla="*/ 2683428 w 2890435"/>
              <a:gd name="connsiteY1" fmla="*/ 257442 h 257442"/>
              <a:gd name="connsiteX2" fmla="*/ 0 w 2890435"/>
              <a:gd name="connsiteY2" fmla="*/ 257442 h 257442"/>
              <a:gd name="connsiteX3" fmla="*/ 0 w 2890435"/>
              <a:gd name="connsiteY3" fmla="*/ 0 h 257442"/>
              <a:gd name="connsiteX0" fmla="*/ 2890435 w 2890435"/>
              <a:gd name="connsiteY0" fmla="*/ 0 h 257442"/>
              <a:gd name="connsiteX1" fmla="*/ 2835714 w 2890435"/>
              <a:gd name="connsiteY1" fmla="*/ 257442 h 257442"/>
              <a:gd name="connsiteX2" fmla="*/ 0 w 2890435"/>
              <a:gd name="connsiteY2" fmla="*/ 257442 h 257442"/>
              <a:gd name="connsiteX3" fmla="*/ 0 w 2890435"/>
              <a:gd name="connsiteY3" fmla="*/ 0 h 257442"/>
              <a:gd name="connsiteX0" fmla="*/ 2890435 w 2890435"/>
              <a:gd name="connsiteY0" fmla="*/ 0 h 257442"/>
              <a:gd name="connsiteX1" fmla="*/ 2835714 w 2890435"/>
              <a:gd name="connsiteY1" fmla="*/ 257442 h 257442"/>
              <a:gd name="connsiteX2" fmla="*/ 0 w 2890435"/>
              <a:gd name="connsiteY2" fmla="*/ 257442 h 257442"/>
              <a:gd name="connsiteX3" fmla="*/ 0 w 2890435"/>
              <a:gd name="connsiteY3" fmla="*/ 0 h 257442"/>
              <a:gd name="connsiteX0" fmla="*/ 2890435 w 2890435"/>
              <a:gd name="connsiteY0" fmla="*/ 0 h 257442"/>
              <a:gd name="connsiteX1" fmla="*/ 2835714 w 2890435"/>
              <a:gd name="connsiteY1" fmla="*/ 257442 h 257442"/>
              <a:gd name="connsiteX2" fmla="*/ 0 w 2890435"/>
              <a:gd name="connsiteY2" fmla="*/ 257442 h 257442"/>
              <a:gd name="connsiteX3" fmla="*/ 0 w 2890435"/>
              <a:gd name="connsiteY3" fmla="*/ 0 h 257442"/>
              <a:gd name="connsiteX0" fmla="*/ 2991423 w 2991423"/>
              <a:gd name="connsiteY0" fmla="*/ 0 h 257442"/>
              <a:gd name="connsiteX1" fmla="*/ 2835714 w 2991423"/>
              <a:gd name="connsiteY1" fmla="*/ 257442 h 257442"/>
              <a:gd name="connsiteX2" fmla="*/ 0 w 2991423"/>
              <a:gd name="connsiteY2" fmla="*/ 257442 h 257442"/>
              <a:gd name="connsiteX3" fmla="*/ 0 w 2991423"/>
              <a:gd name="connsiteY3" fmla="*/ 0 h 257442"/>
              <a:gd name="connsiteX0" fmla="*/ 2991423 w 2991423"/>
              <a:gd name="connsiteY0" fmla="*/ 0 h 257442"/>
              <a:gd name="connsiteX1" fmla="*/ 2936702 w 2991423"/>
              <a:gd name="connsiteY1" fmla="*/ 257442 h 257442"/>
              <a:gd name="connsiteX2" fmla="*/ 0 w 2991423"/>
              <a:gd name="connsiteY2" fmla="*/ 257442 h 257442"/>
              <a:gd name="connsiteX3" fmla="*/ 0 w 2991423"/>
              <a:gd name="connsiteY3" fmla="*/ 0 h 257442"/>
              <a:gd name="connsiteX0" fmla="*/ 2991423 w 2991423"/>
              <a:gd name="connsiteY0" fmla="*/ 0 h 257442"/>
              <a:gd name="connsiteX1" fmla="*/ 2936702 w 2991423"/>
              <a:gd name="connsiteY1" fmla="*/ 257442 h 257442"/>
              <a:gd name="connsiteX2" fmla="*/ 0 w 2991423"/>
              <a:gd name="connsiteY2" fmla="*/ 257442 h 257442"/>
              <a:gd name="connsiteX3" fmla="*/ 0 w 2991423"/>
              <a:gd name="connsiteY3" fmla="*/ 0 h 257442"/>
              <a:gd name="connsiteX0" fmla="*/ 2991423 w 2991423"/>
              <a:gd name="connsiteY0" fmla="*/ 0 h 257442"/>
              <a:gd name="connsiteX1" fmla="*/ 2936702 w 2991423"/>
              <a:gd name="connsiteY1" fmla="*/ 257442 h 257442"/>
              <a:gd name="connsiteX2" fmla="*/ 0 w 2991423"/>
              <a:gd name="connsiteY2" fmla="*/ 257442 h 257442"/>
              <a:gd name="connsiteX3" fmla="*/ 0 w 2991423"/>
              <a:gd name="connsiteY3" fmla="*/ 0 h 257442"/>
              <a:gd name="connsiteX0" fmla="*/ 3159739 w 3159739"/>
              <a:gd name="connsiteY0" fmla="*/ 0 h 257442"/>
              <a:gd name="connsiteX1" fmla="*/ 2936702 w 3159739"/>
              <a:gd name="connsiteY1" fmla="*/ 257442 h 257442"/>
              <a:gd name="connsiteX2" fmla="*/ 0 w 3159739"/>
              <a:gd name="connsiteY2" fmla="*/ 257442 h 257442"/>
              <a:gd name="connsiteX3" fmla="*/ 0 w 3159739"/>
              <a:gd name="connsiteY3" fmla="*/ 0 h 257442"/>
              <a:gd name="connsiteX0" fmla="*/ 3159739 w 3159739"/>
              <a:gd name="connsiteY0" fmla="*/ 0 h 257442"/>
              <a:gd name="connsiteX1" fmla="*/ 3105018 w 3159739"/>
              <a:gd name="connsiteY1" fmla="*/ 257442 h 257442"/>
              <a:gd name="connsiteX2" fmla="*/ 0 w 3159739"/>
              <a:gd name="connsiteY2" fmla="*/ 257442 h 257442"/>
              <a:gd name="connsiteX3" fmla="*/ 0 w 3159739"/>
              <a:gd name="connsiteY3" fmla="*/ 0 h 257442"/>
              <a:gd name="connsiteX0" fmla="*/ 3159739 w 3159739"/>
              <a:gd name="connsiteY0" fmla="*/ 0 h 257442"/>
              <a:gd name="connsiteX1" fmla="*/ 3105018 w 3159739"/>
              <a:gd name="connsiteY1" fmla="*/ 257442 h 257442"/>
              <a:gd name="connsiteX2" fmla="*/ 0 w 3159739"/>
              <a:gd name="connsiteY2" fmla="*/ 257442 h 257442"/>
              <a:gd name="connsiteX3" fmla="*/ 0 w 3159739"/>
              <a:gd name="connsiteY3" fmla="*/ 0 h 257442"/>
              <a:gd name="connsiteX0" fmla="*/ 3159739 w 3159739"/>
              <a:gd name="connsiteY0" fmla="*/ 0 h 257442"/>
              <a:gd name="connsiteX1" fmla="*/ 3105018 w 3159739"/>
              <a:gd name="connsiteY1" fmla="*/ 257442 h 257442"/>
              <a:gd name="connsiteX2" fmla="*/ 0 w 3159739"/>
              <a:gd name="connsiteY2" fmla="*/ 257442 h 257442"/>
              <a:gd name="connsiteX3" fmla="*/ 0 w 3159739"/>
              <a:gd name="connsiteY3" fmla="*/ 0 h 257442"/>
              <a:gd name="connsiteX0" fmla="*/ 3320039 w 3320039"/>
              <a:gd name="connsiteY0" fmla="*/ 0 h 257442"/>
              <a:gd name="connsiteX1" fmla="*/ 3105018 w 3320039"/>
              <a:gd name="connsiteY1" fmla="*/ 257442 h 257442"/>
              <a:gd name="connsiteX2" fmla="*/ 0 w 3320039"/>
              <a:gd name="connsiteY2" fmla="*/ 257442 h 257442"/>
              <a:gd name="connsiteX3" fmla="*/ 0 w 3320039"/>
              <a:gd name="connsiteY3" fmla="*/ 0 h 257442"/>
              <a:gd name="connsiteX0" fmla="*/ 3320039 w 3320039"/>
              <a:gd name="connsiteY0" fmla="*/ 0 h 257442"/>
              <a:gd name="connsiteX1" fmla="*/ 3265318 w 3320039"/>
              <a:gd name="connsiteY1" fmla="*/ 257442 h 257442"/>
              <a:gd name="connsiteX2" fmla="*/ 0 w 3320039"/>
              <a:gd name="connsiteY2" fmla="*/ 257442 h 257442"/>
              <a:gd name="connsiteX3" fmla="*/ 0 w 3320039"/>
              <a:gd name="connsiteY3" fmla="*/ 0 h 257442"/>
              <a:gd name="connsiteX0" fmla="*/ 3320039 w 3320039"/>
              <a:gd name="connsiteY0" fmla="*/ 0 h 257442"/>
              <a:gd name="connsiteX1" fmla="*/ 3265318 w 3320039"/>
              <a:gd name="connsiteY1" fmla="*/ 257442 h 257442"/>
              <a:gd name="connsiteX2" fmla="*/ 0 w 3320039"/>
              <a:gd name="connsiteY2" fmla="*/ 257442 h 257442"/>
              <a:gd name="connsiteX3" fmla="*/ 0 w 3320039"/>
              <a:gd name="connsiteY3" fmla="*/ 0 h 257442"/>
              <a:gd name="connsiteX0" fmla="*/ 3320039 w 3320039"/>
              <a:gd name="connsiteY0" fmla="*/ 0 h 257442"/>
              <a:gd name="connsiteX1" fmla="*/ 3265318 w 3320039"/>
              <a:gd name="connsiteY1" fmla="*/ 257442 h 257442"/>
              <a:gd name="connsiteX2" fmla="*/ 0 w 3320039"/>
              <a:gd name="connsiteY2" fmla="*/ 257442 h 257442"/>
              <a:gd name="connsiteX3" fmla="*/ 0 w 3320039"/>
              <a:gd name="connsiteY3" fmla="*/ 0 h 257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20039" h="257442">
                <a:moveTo>
                  <a:pt x="3320039" y="0"/>
                </a:moveTo>
                <a:lnTo>
                  <a:pt x="3265318" y="257442"/>
                </a:lnTo>
                <a:lnTo>
                  <a:pt x="0" y="257442"/>
                </a:lnTo>
                <a:lnTo>
                  <a:pt x="0" y="0"/>
                </a:lnTo>
                <a:close/>
              </a:path>
            </a:pathLst>
          </a:custGeom>
          <a:solidFill>
            <a:srgbClr val="5C5C5C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btfpRunningAgenda2LevelTextLeft587740">
            <a:extLst>
              <a:ext uri="{FF2B5EF4-FFF2-40B4-BE49-F238E27FC236}">
                <a16:creationId xmlns:a16="http://schemas.microsoft.com/office/drawing/2014/main" id="{FDE41B3D-2502-D694-C088-E56DCDA4E18A}"/>
              </a:ext>
            </a:extLst>
          </p:cNvPr>
          <p:cNvSpPr txBox="1"/>
          <p:nvPr/>
        </p:nvSpPr>
        <p:spPr bwMode="gray">
          <a:xfrm>
            <a:off x="0" y="944429"/>
            <a:ext cx="3265318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err="1">
                <a:solidFill>
                  <a:srgbClr val="FFFFFF"/>
                </a:solidFill>
              </a:rPr>
              <a:t>Università</a:t>
            </a:r>
            <a:r>
              <a:rPr lang="en-US" sz="1200" b="1" cap="all" spc="450" dirty="0">
                <a:solidFill>
                  <a:srgbClr val="FFFFFF"/>
                </a:solidFill>
              </a:rPr>
              <a:t> online</a:t>
            </a:r>
          </a:p>
        </p:txBody>
      </p:sp>
      <p:sp>
        <p:nvSpPr>
          <p:cNvPr id="24" name="btfpRunningAgenda2LevelBarRight587740">
            <a:extLst>
              <a:ext uri="{FF2B5EF4-FFF2-40B4-BE49-F238E27FC236}">
                <a16:creationId xmlns:a16="http://schemas.microsoft.com/office/drawing/2014/main" id="{32C6F0C4-EC17-1468-A308-2D1835BAE49B}"/>
              </a:ext>
            </a:extLst>
          </p:cNvPr>
          <p:cNvSpPr/>
          <p:nvPr/>
        </p:nvSpPr>
        <p:spPr bwMode="gray">
          <a:xfrm>
            <a:off x="3185197" y="944429"/>
            <a:ext cx="3775291" cy="257442"/>
          </a:xfrm>
          <a:custGeom>
            <a:avLst/>
            <a:gdLst>
              <a:gd name="connsiteX0" fmla="*/ 950801 w 2367856"/>
              <a:gd name="connsiteY0" fmla="*/ 0 h 257442"/>
              <a:gd name="connsiteX1" fmla="*/ 2367856 w 2367856"/>
              <a:gd name="connsiteY1" fmla="*/ 0 h 257442"/>
              <a:gd name="connsiteX2" fmla="*/ 2313135 w 2367856"/>
              <a:gd name="connsiteY2" fmla="*/ 257442 h 257442"/>
              <a:gd name="connsiteX3" fmla="*/ 0 w 2367856"/>
              <a:gd name="connsiteY3" fmla="*/ 257442 h 257442"/>
              <a:gd name="connsiteX0" fmla="*/ 950801 w 2313135"/>
              <a:gd name="connsiteY0" fmla="*/ 0 h 257442"/>
              <a:gd name="connsiteX1" fmla="*/ 896080 w 2313135"/>
              <a:gd name="connsiteY1" fmla="*/ 257442 h 257442"/>
              <a:gd name="connsiteX2" fmla="*/ 2313135 w 2313135"/>
              <a:gd name="connsiteY2" fmla="*/ 257442 h 257442"/>
              <a:gd name="connsiteX3" fmla="*/ 0 w 2313135"/>
              <a:gd name="connsiteY3" fmla="*/ 257442 h 257442"/>
              <a:gd name="connsiteX0" fmla="*/ 950801 w 950801"/>
              <a:gd name="connsiteY0" fmla="*/ 0 h 257442"/>
              <a:gd name="connsiteX1" fmla="*/ 896080 w 950801"/>
              <a:gd name="connsiteY1" fmla="*/ 257442 h 257442"/>
              <a:gd name="connsiteX2" fmla="*/ 1 w 950801"/>
              <a:gd name="connsiteY2" fmla="*/ 257442 h 257442"/>
              <a:gd name="connsiteX3" fmla="*/ 0 w 950801"/>
              <a:gd name="connsiteY3" fmla="*/ 257442 h 257442"/>
              <a:gd name="connsiteX0" fmla="*/ 950800 w 950800"/>
              <a:gd name="connsiteY0" fmla="*/ 0 h 257442"/>
              <a:gd name="connsiteX1" fmla="*/ 896079 w 950800"/>
              <a:gd name="connsiteY1" fmla="*/ 257442 h 257442"/>
              <a:gd name="connsiteX2" fmla="*/ 0 w 950800"/>
              <a:gd name="connsiteY2" fmla="*/ 257442 h 257442"/>
              <a:gd name="connsiteX3" fmla="*/ 54721 w 950800"/>
              <a:gd name="connsiteY3" fmla="*/ 0 h 257442"/>
              <a:gd name="connsiteX0" fmla="*/ 1111100 w 1111100"/>
              <a:gd name="connsiteY0" fmla="*/ 0 h 257442"/>
              <a:gd name="connsiteX1" fmla="*/ 896079 w 1111100"/>
              <a:gd name="connsiteY1" fmla="*/ 257442 h 257442"/>
              <a:gd name="connsiteX2" fmla="*/ 0 w 1111100"/>
              <a:gd name="connsiteY2" fmla="*/ 257442 h 257442"/>
              <a:gd name="connsiteX3" fmla="*/ 54721 w 1111100"/>
              <a:gd name="connsiteY3" fmla="*/ 0 h 257442"/>
              <a:gd name="connsiteX0" fmla="*/ 1111100 w 1111100"/>
              <a:gd name="connsiteY0" fmla="*/ 0 h 257442"/>
              <a:gd name="connsiteX1" fmla="*/ 1056379 w 1111100"/>
              <a:gd name="connsiteY1" fmla="*/ 257442 h 257442"/>
              <a:gd name="connsiteX2" fmla="*/ 0 w 1111100"/>
              <a:gd name="connsiteY2" fmla="*/ 257442 h 257442"/>
              <a:gd name="connsiteX3" fmla="*/ 54721 w 1111100"/>
              <a:gd name="connsiteY3" fmla="*/ 0 h 257442"/>
              <a:gd name="connsiteX0" fmla="*/ 1111101 w 1111101"/>
              <a:gd name="connsiteY0" fmla="*/ 0 h 257442"/>
              <a:gd name="connsiteX1" fmla="*/ 1056380 w 1111101"/>
              <a:gd name="connsiteY1" fmla="*/ 257442 h 257442"/>
              <a:gd name="connsiteX2" fmla="*/ 0 w 1111101"/>
              <a:gd name="connsiteY2" fmla="*/ 257442 h 257442"/>
              <a:gd name="connsiteX3" fmla="*/ 54722 w 1111101"/>
              <a:gd name="connsiteY3" fmla="*/ 0 h 257442"/>
              <a:gd name="connsiteX0" fmla="*/ 1111101 w 1111101"/>
              <a:gd name="connsiteY0" fmla="*/ 0 h 257442"/>
              <a:gd name="connsiteX1" fmla="*/ 1056380 w 1111101"/>
              <a:gd name="connsiteY1" fmla="*/ 257442 h 257442"/>
              <a:gd name="connsiteX2" fmla="*/ 0 w 1111101"/>
              <a:gd name="connsiteY2" fmla="*/ 257442 h 257442"/>
              <a:gd name="connsiteX3" fmla="*/ 54722 w 1111101"/>
              <a:gd name="connsiteY3" fmla="*/ 0 h 257442"/>
              <a:gd name="connsiteX0" fmla="*/ 1279417 w 1279417"/>
              <a:gd name="connsiteY0" fmla="*/ 0 h 257442"/>
              <a:gd name="connsiteX1" fmla="*/ 1056380 w 1279417"/>
              <a:gd name="connsiteY1" fmla="*/ 257442 h 257442"/>
              <a:gd name="connsiteX2" fmla="*/ 0 w 1279417"/>
              <a:gd name="connsiteY2" fmla="*/ 257442 h 257442"/>
              <a:gd name="connsiteX3" fmla="*/ 54722 w 1279417"/>
              <a:gd name="connsiteY3" fmla="*/ 0 h 257442"/>
              <a:gd name="connsiteX0" fmla="*/ 1279417 w 1279417"/>
              <a:gd name="connsiteY0" fmla="*/ 0 h 257442"/>
              <a:gd name="connsiteX1" fmla="*/ 1224696 w 1279417"/>
              <a:gd name="connsiteY1" fmla="*/ 257442 h 257442"/>
              <a:gd name="connsiteX2" fmla="*/ 0 w 1279417"/>
              <a:gd name="connsiteY2" fmla="*/ 257442 h 257442"/>
              <a:gd name="connsiteX3" fmla="*/ 54722 w 1279417"/>
              <a:gd name="connsiteY3" fmla="*/ 0 h 257442"/>
              <a:gd name="connsiteX0" fmla="*/ 1279416 w 1279416"/>
              <a:gd name="connsiteY0" fmla="*/ 0 h 257442"/>
              <a:gd name="connsiteX1" fmla="*/ 1224695 w 1279416"/>
              <a:gd name="connsiteY1" fmla="*/ 257442 h 257442"/>
              <a:gd name="connsiteX2" fmla="*/ 0 w 1279416"/>
              <a:gd name="connsiteY2" fmla="*/ 257442 h 257442"/>
              <a:gd name="connsiteX3" fmla="*/ 54721 w 1279416"/>
              <a:gd name="connsiteY3" fmla="*/ 0 h 257442"/>
              <a:gd name="connsiteX0" fmla="*/ 1279416 w 1279416"/>
              <a:gd name="connsiteY0" fmla="*/ 0 h 257442"/>
              <a:gd name="connsiteX1" fmla="*/ 1224695 w 1279416"/>
              <a:gd name="connsiteY1" fmla="*/ 257442 h 257442"/>
              <a:gd name="connsiteX2" fmla="*/ 0 w 1279416"/>
              <a:gd name="connsiteY2" fmla="*/ 257442 h 257442"/>
              <a:gd name="connsiteX3" fmla="*/ 54720 w 1279416"/>
              <a:gd name="connsiteY3" fmla="*/ 0 h 257442"/>
              <a:gd name="connsiteX0" fmla="*/ 1439716 w 1439716"/>
              <a:gd name="connsiteY0" fmla="*/ 0 h 257442"/>
              <a:gd name="connsiteX1" fmla="*/ 1224695 w 1439716"/>
              <a:gd name="connsiteY1" fmla="*/ 257442 h 257442"/>
              <a:gd name="connsiteX2" fmla="*/ 0 w 1439716"/>
              <a:gd name="connsiteY2" fmla="*/ 257442 h 257442"/>
              <a:gd name="connsiteX3" fmla="*/ 54720 w 1439716"/>
              <a:gd name="connsiteY3" fmla="*/ 0 h 257442"/>
              <a:gd name="connsiteX0" fmla="*/ 1439716 w 1439716"/>
              <a:gd name="connsiteY0" fmla="*/ 0 h 257442"/>
              <a:gd name="connsiteX1" fmla="*/ 1384995 w 1439716"/>
              <a:gd name="connsiteY1" fmla="*/ 257442 h 257442"/>
              <a:gd name="connsiteX2" fmla="*/ 0 w 1439716"/>
              <a:gd name="connsiteY2" fmla="*/ 257442 h 257442"/>
              <a:gd name="connsiteX3" fmla="*/ 54720 w 1439716"/>
              <a:gd name="connsiteY3" fmla="*/ 0 h 257442"/>
              <a:gd name="connsiteX0" fmla="*/ 1439717 w 1439717"/>
              <a:gd name="connsiteY0" fmla="*/ 0 h 257442"/>
              <a:gd name="connsiteX1" fmla="*/ 1384996 w 1439717"/>
              <a:gd name="connsiteY1" fmla="*/ 257442 h 257442"/>
              <a:gd name="connsiteX2" fmla="*/ 0 w 1439717"/>
              <a:gd name="connsiteY2" fmla="*/ 257442 h 257442"/>
              <a:gd name="connsiteX3" fmla="*/ 54721 w 1439717"/>
              <a:gd name="connsiteY3" fmla="*/ 0 h 257442"/>
              <a:gd name="connsiteX0" fmla="*/ 1439717 w 1439717"/>
              <a:gd name="connsiteY0" fmla="*/ 0 h 257442"/>
              <a:gd name="connsiteX1" fmla="*/ 1384996 w 1439717"/>
              <a:gd name="connsiteY1" fmla="*/ 257442 h 257442"/>
              <a:gd name="connsiteX2" fmla="*/ 0 w 1439717"/>
              <a:gd name="connsiteY2" fmla="*/ 257442 h 257442"/>
              <a:gd name="connsiteX3" fmla="*/ 54722 w 1439717"/>
              <a:gd name="connsiteY3" fmla="*/ 0 h 257442"/>
              <a:gd name="connsiteX0" fmla="*/ 1617651 w 1617651"/>
              <a:gd name="connsiteY0" fmla="*/ 0 h 257442"/>
              <a:gd name="connsiteX1" fmla="*/ 1384996 w 1617651"/>
              <a:gd name="connsiteY1" fmla="*/ 257442 h 257442"/>
              <a:gd name="connsiteX2" fmla="*/ 0 w 1617651"/>
              <a:gd name="connsiteY2" fmla="*/ 257442 h 257442"/>
              <a:gd name="connsiteX3" fmla="*/ 54722 w 1617651"/>
              <a:gd name="connsiteY3" fmla="*/ 0 h 257442"/>
              <a:gd name="connsiteX0" fmla="*/ 1617651 w 1617651"/>
              <a:gd name="connsiteY0" fmla="*/ 0 h 257442"/>
              <a:gd name="connsiteX1" fmla="*/ 1562930 w 1617651"/>
              <a:gd name="connsiteY1" fmla="*/ 257442 h 257442"/>
              <a:gd name="connsiteX2" fmla="*/ 0 w 1617651"/>
              <a:gd name="connsiteY2" fmla="*/ 257442 h 257442"/>
              <a:gd name="connsiteX3" fmla="*/ 54722 w 1617651"/>
              <a:gd name="connsiteY3" fmla="*/ 0 h 257442"/>
              <a:gd name="connsiteX0" fmla="*/ 1617650 w 1617650"/>
              <a:gd name="connsiteY0" fmla="*/ 0 h 257442"/>
              <a:gd name="connsiteX1" fmla="*/ 1562929 w 1617650"/>
              <a:gd name="connsiteY1" fmla="*/ 257442 h 257442"/>
              <a:gd name="connsiteX2" fmla="*/ 0 w 1617650"/>
              <a:gd name="connsiteY2" fmla="*/ 257442 h 257442"/>
              <a:gd name="connsiteX3" fmla="*/ 54721 w 1617650"/>
              <a:gd name="connsiteY3" fmla="*/ 0 h 257442"/>
              <a:gd name="connsiteX0" fmla="*/ 1617650 w 1617650"/>
              <a:gd name="connsiteY0" fmla="*/ 0 h 257442"/>
              <a:gd name="connsiteX1" fmla="*/ 1562929 w 1617650"/>
              <a:gd name="connsiteY1" fmla="*/ 257442 h 257442"/>
              <a:gd name="connsiteX2" fmla="*/ 0 w 1617650"/>
              <a:gd name="connsiteY2" fmla="*/ 257442 h 257442"/>
              <a:gd name="connsiteX3" fmla="*/ 54720 w 1617650"/>
              <a:gd name="connsiteY3" fmla="*/ 0 h 257442"/>
              <a:gd name="connsiteX0" fmla="*/ 1785964 w 1785964"/>
              <a:gd name="connsiteY0" fmla="*/ 0 h 257442"/>
              <a:gd name="connsiteX1" fmla="*/ 1562929 w 1785964"/>
              <a:gd name="connsiteY1" fmla="*/ 257442 h 257442"/>
              <a:gd name="connsiteX2" fmla="*/ 0 w 1785964"/>
              <a:gd name="connsiteY2" fmla="*/ 257442 h 257442"/>
              <a:gd name="connsiteX3" fmla="*/ 54720 w 1785964"/>
              <a:gd name="connsiteY3" fmla="*/ 0 h 257442"/>
              <a:gd name="connsiteX0" fmla="*/ 1785964 w 1785964"/>
              <a:gd name="connsiteY0" fmla="*/ 0 h 257442"/>
              <a:gd name="connsiteX1" fmla="*/ 1731243 w 1785964"/>
              <a:gd name="connsiteY1" fmla="*/ 257442 h 257442"/>
              <a:gd name="connsiteX2" fmla="*/ 0 w 1785964"/>
              <a:gd name="connsiteY2" fmla="*/ 257442 h 257442"/>
              <a:gd name="connsiteX3" fmla="*/ 54720 w 1785964"/>
              <a:gd name="connsiteY3" fmla="*/ 0 h 257442"/>
              <a:gd name="connsiteX0" fmla="*/ 1785965 w 1785965"/>
              <a:gd name="connsiteY0" fmla="*/ 0 h 257442"/>
              <a:gd name="connsiteX1" fmla="*/ 1731244 w 1785965"/>
              <a:gd name="connsiteY1" fmla="*/ 257442 h 257442"/>
              <a:gd name="connsiteX2" fmla="*/ 0 w 1785965"/>
              <a:gd name="connsiteY2" fmla="*/ 257442 h 257442"/>
              <a:gd name="connsiteX3" fmla="*/ 54721 w 1785965"/>
              <a:gd name="connsiteY3" fmla="*/ 0 h 257442"/>
              <a:gd name="connsiteX0" fmla="*/ 1785965 w 1785965"/>
              <a:gd name="connsiteY0" fmla="*/ 0 h 257442"/>
              <a:gd name="connsiteX1" fmla="*/ 1731244 w 1785965"/>
              <a:gd name="connsiteY1" fmla="*/ 257442 h 257442"/>
              <a:gd name="connsiteX2" fmla="*/ 0 w 1785965"/>
              <a:gd name="connsiteY2" fmla="*/ 257442 h 257442"/>
              <a:gd name="connsiteX3" fmla="*/ 54722 w 1785965"/>
              <a:gd name="connsiteY3" fmla="*/ 0 h 257442"/>
              <a:gd name="connsiteX0" fmla="*/ 1946266 w 1946266"/>
              <a:gd name="connsiteY0" fmla="*/ 0 h 257442"/>
              <a:gd name="connsiteX1" fmla="*/ 1731244 w 1946266"/>
              <a:gd name="connsiteY1" fmla="*/ 257442 h 257442"/>
              <a:gd name="connsiteX2" fmla="*/ 0 w 1946266"/>
              <a:gd name="connsiteY2" fmla="*/ 257442 h 257442"/>
              <a:gd name="connsiteX3" fmla="*/ 54722 w 1946266"/>
              <a:gd name="connsiteY3" fmla="*/ 0 h 257442"/>
              <a:gd name="connsiteX0" fmla="*/ 1946266 w 1946266"/>
              <a:gd name="connsiteY0" fmla="*/ 0 h 257442"/>
              <a:gd name="connsiteX1" fmla="*/ 1891544 w 1946266"/>
              <a:gd name="connsiteY1" fmla="*/ 257442 h 257442"/>
              <a:gd name="connsiteX2" fmla="*/ 0 w 1946266"/>
              <a:gd name="connsiteY2" fmla="*/ 257442 h 257442"/>
              <a:gd name="connsiteX3" fmla="*/ 54722 w 1946266"/>
              <a:gd name="connsiteY3" fmla="*/ 0 h 257442"/>
              <a:gd name="connsiteX0" fmla="*/ 1946266 w 1946266"/>
              <a:gd name="connsiteY0" fmla="*/ 0 h 257442"/>
              <a:gd name="connsiteX1" fmla="*/ 1891544 w 1946266"/>
              <a:gd name="connsiteY1" fmla="*/ 257442 h 257442"/>
              <a:gd name="connsiteX2" fmla="*/ 0 w 1946266"/>
              <a:gd name="connsiteY2" fmla="*/ 257442 h 257442"/>
              <a:gd name="connsiteX3" fmla="*/ 54722 w 1946266"/>
              <a:gd name="connsiteY3" fmla="*/ 0 h 257442"/>
              <a:gd name="connsiteX0" fmla="*/ 1946266 w 1946266"/>
              <a:gd name="connsiteY0" fmla="*/ 0 h 257442"/>
              <a:gd name="connsiteX1" fmla="*/ 1891544 w 1946266"/>
              <a:gd name="connsiteY1" fmla="*/ 257442 h 257442"/>
              <a:gd name="connsiteX2" fmla="*/ 0 w 1946266"/>
              <a:gd name="connsiteY2" fmla="*/ 257442 h 257442"/>
              <a:gd name="connsiteX3" fmla="*/ 54721 w 1946266"/>
              <a:gd name="connsiteY3" fmla="*/ 0 h 257442"/>
              <a:gd name="connsiteX0" fmla="*/ 2199540 w 2199540"/>
              <a:gd name="connsiteY0" fmla="*/ 0 h 257442"/>
              <a:gd name="connsiteX1" fmla="*/ 1891544 w 2199540"/>
              <a:gd name="connsiteY1" fmla="*/ 257442 h 257442"/>
              <a:gd name="connsiteX2" fmla="*/ 0 w 2199540"/>
              <a:gd name="connsiteY2" fmla="*/ 257442 h 257442"/>
              <a:gd name="connsiteX3" fmla="*/ 54721 w 2199540"/>
              <a:gd name="connsiteY3" fmla="*/ 0 h 257442"/>
              <a:gd name="connsiteX0" fmla="*/ 2199540 w 2199540"/>
              <a:gd name="connsiteY0" fmla="*/ 0 h 257442"/>
              <a:gd name="connsiteX1" fmla="*/ 2144819 w 2199540"/>
              <a:gd name="connsiteY1" fmla="*/ 257442 h 257442"/>
              <a:gd name="connsiteX2" fmla="*/ 0 w 2199540"/>
              <a:gd name="connsiteY2" fmla="*/ 257442 h 257442"/>
              <a:gd name="connsiteX3" fmla="*/ 54721 w 2199540"/>
              <a:gd name="connsiteY3" fmla="*/ 0 h 257442"/>
              <a:gd name="connsiteX0" fmla="*/ 2199540 w 2199540"/>
              <a:gd name="connsiteY0" fmla="*/ 0 h 257442"/>
              <a:gd name="connsiteX1" fmla="*/ 2144819 w 2199540"/>
              <a:gd name="connsiteY1" fmla="*/ 257442 h 257442"/>
              <a:gd name="connsiteX2" fmla="*/ 0 w 2199540"/>
              <a:gd name="connsiteY2" fmla="*/ 257442 h 257442"/>
              <a:gd name="connsiteX3" fmla="*/ 54721 w 2199540"/>
              <a:gd name="connsiteY3" fmla="*/ 0 h 257442"/>
              <a:gd name="connsiteX0" fmla="*/ 2199540 w 2199540"/>
              <a:gd name="connsiteY0" fmla="*/ 0 h 257442"/>
              <a:gd name="connsiteX1" fmla="*/ 2144819 w 2199540"/>
              <a:gd name="connsiteY1" fmla="*/ 257442 h 257442"/>
              <a:gd name="connsiteX2" fmla="*/ 0 w 2199540"/>
              <a:gd name="connsiteY2" fmla="*/ 257442 h 257442"/>
              <a:gd name="connsiteX3" fmla="*/ 54721 w 2199540"/>
              <a:gd name="connsiteY3" fmla="*/ 0 h 257442"/>
              <a:gd name="connsiteX0" fmla="*/ 2377474 w 2377474"/>
              <a:gd name="connsiteY0" fmla="*/ 0 h 257442"/>
              <a:gd name="connsiteX1" fmla="*/ 2144819 w 2377474"/>
              <a:gd name="connsiteY1" fmla="*/ 257442 h 257442"/>
              <a:gd name="connsiteX2" fmla="*/ 0 w 2377474"/>
              <a:gd name="connsiteY2" fmla="*/ 257442 h 257442"/>
              <a:gd name="connsiteX3" fmla="*/ 54721 w 2377474"/>
              <a:gd name="connsiteY3" fmla="*/ 0 h 257442"/>
              <a:gd name="connsiteX0" fmla="*/ 2377474 w 2377474"/>
              <a:gd name="connsiteY0" fmla="*/ 0 h 257442"/>
              <a:gd name="connsiteX1" fmla="*/ 2322753 w 2377474"/>
              <a:gd name="connsiteY1" fmla="*/ 257442 h 257442"/>
              <a:gd name="connsiteX2" fmla="*/ 0 w 2377474"/>
              <a:gd name="connsiteY2" fmla="*/ 257442 h 257442"/>
              <a:gd name="connsiteX3" fmla="*/ 54721 w 2377474"/>
              <a:gd name="connsiteY3" fmla="*/ 0 h 257442"/>
              <a:gd name="connsiteX0" fmla="*/ 2377474 w 2377474"/>
              <a:gd name="connsiteY0" fmla="*/ 0 h 257442"/>
              <a:gd name="connsiteX1" fmla="*/ 2322753 w 2377474"/>
              <a:gd name="connsiteY1" fmla="*/ 257442 h 257442"/>
              <a:gd name="connsiteX2" fmla="*/ 0 w 2377474"/>
              <a:gd name="connsiteY2" fmla="*/ 257442 h 257442"/>
              <a:gd name="connsiteX3" fmla="*/ 54721 w 2377474"/>
              <a:gd name="connsiteY3" fmla="*/ 0 h 257442"/>
              <a:gd name="connsiteX0" fmla="*/ 2377474 w 2377474"/>
              <a:gd name="connsiteY0" fmla="*/ 0 h 257442"/>
              <a:gd name="connsiteX1" fmla="*/ 2322753 w 2377474"/>
              <a:gd name="connsiteY1" fmla="*/ 257442 h 257442"/>
              <a:gd name="connsiteX2" fmla="*/ 0 w 2377474"/>
              <a:gd name="connsiteY2" fmla="*/ 257442 h 257442"/>
              <a:gd name="connsiteX3" fmla="*/ 54721 w 2377474"/>
              <a:gd name="connsiteY3" fmla="*/ 0 h 257442"/>
              <a:gd name="connsiteX0" fmla="*/ 2545789 w 2545789"/>
              <a:gd name="connsiteY0" fmla="*/ 0 h 257442"/>
              <a:gd name="connsiteX1" fmla="*/ 2322753 w 2545789"/>
              <a:gd name="connsiteY1" fmla="*/ 257442 h 257442"/>
              <a:gd name="connsiteX2" fmla="*/ 0 w 2545789"/>
              <a:gd name="connsiteY2" fmla="*/ 257442 h 257442"/>
              <a:gd name="connsiteX3" fmla="*/ 54721 w 2545789"/>
              <a:gd name="connsiteY3" fmla="*/ 0 h 257442"/>
              <a:gd name="connsiteX0" fmla="*/ 2545789 w 2545789"/>
              <a:gd name="connsiteY0" fmla="*/ 0 h 257442"/>
              <a:gd name="connsiteX1" fmla="*/ 2491068 w 2545789"/>
              <a:gd name="connsiteY1" fmla="*/ 257442 h 257442"/>
              <a:gd name="connsiteX2" fmla="*/ 0 w 2545789"/>
              <a:gd name="connsiteY2" fmla="*/ 257442 h 257442"/>
              <a:gd name="connsiteX3" fmla="*/ 54721 w 2545789"/>
              <a:gd name="connsiteY3" fmla="*/ 0 h 257442"/>
              <a:gd name="connsiteX0" fmla="*/ 2545789 w 2545789"/>
              <a:gd name="connsiteY0" fmla="*/ 0 h 257442"/>
              <a:gd name="connsiteX1" fmla="*/ 2491068 w 2545789"/>
              <a:gd name="connsiteY1" fmla="*/ 257442 h 257442"/>
              <a:gd name="connsiteX2" fmla="*/ 0 w 2545789"/>
              <a:gd name="connsiteY2" fmla="*/ 257442 h 257442"/>
              <a:gd name="connsiteX3" fmla="*/ 54721 w 2545789"/>
              <a:gd name="connsiteY3" fmla="*/ 0 h 257442"/>
              <a:gd name="connsiteX0" fmla="*/ 2545789 w 2545789"/>
              <a:gd name="connsiteY0" fmla="*/ 0 h 257442"/>
              <a:gd name="connsiteX1" fmla="*/ 2491068 w 2545789"/>
              <a:gd name="connsiteY1" fmla="*/ 257442 h 257442"/>
              <a:gd name="connsiteX2" fmla="*/ 0 w 2545789"/>
              <a:gd name="connsiteY2" fmla="*/ 257442 h 257442"/>
              <a:gd name="connsiteX3" fmla="*/ 54721 w 2545789"/>
              <a:gd name="connsiteY3" fmla="*/ 0 h 257442"/>
              <a:gd name="connsiteX0" fmla="*/ 2807079 w 2807079"/>
              <a:gd name="connsiteY0" fmla="*/ 0 h 257442"/>
              <a:gd name="connsiteX1" fmla="*/ 2491068 w 2807079"/>
              <a:gd name="connsiteY1" fmla="*/ 257442 h 257442"/>
              <a:gd name="connsiteX2" fmla="*/ 0 w 2807079"/>
              <a:gd name="connsiteY2" fmla="*/ 257442 h 257442"/>
              <a:gd name="connsiteX3" fmla="*/ 54721 w 2807079"/>
              <a:gd name="connsiteY3" fmla="*/ 0 h 257442"/>
              <a:gd name="connsiteX0" fmla="*/ 2807079 w 2807079"/>
              <a:gd name="connsiteY0" fmla="*/ 0 h 257442"/>
              <a:gd name="connsiteX1" fmla="*/ 2752358 w 2807079"/>
              <a:gd name="connsiteY1" fmla="*/ 257442 h 257442"/>
              <a:gd name="connsiteX2" fmla="*/ 0 w 2807079"/>
              <a:gd name="connsiteY2" fmla="*/ 257442 h 257442"/>
              <a:gd name="connsiteX3" fmla="*/ 54721 w 2807079"/>
              <a:gd name="connsiteY3" fmla="*/ 0 h 257442"/>
              <a:gd name="connsiteX0" fmla="*/ 2807079 w 2807079"/>
              <a:gd name="connsiteY0" fmla="*/ 0 h 257442"/>
              <a:gd name="connsiteX1" fmla="*/ 2752358 w 2807079"/>
              <a:gd name="connsiteY1" fmla="*/ 257442 h 257442"/>
              <a:gd name="connsiteX2" fmla="*/ 0 w 2807079"/>
              <a:gd name="connsiteY2" fmla="*/ 257442 h 257442"/>
              <a:gd name="connsiteX3" fmla="*/ 54721 w 2807079"/>
              <a:gd name="connsiteY3" fmla="*/ 0 h 257442"/>
              <a:gd name="connsiteX0" fmla="*/ 2807079 w 2807079"/>
              <a:gd name="connsiteY0" fmla="*/ 0 h 257442"/>
              <a:gd name="connsiteX1" fmla="*/ 2752358 w 2807079"/>
              <a:gd name="connsiteY1" fmla="*/ 257442 h 257442"/>
              <a:gd name="connsiteX2" fmla="*/ 0 w 2807079"/>
              <a:gd name="connsiteY2" fmla="*/ 257442 h 257442"/>
              <a:gd name="connsiteX3" fmla="*/ 54721 w 2807079"/>
              <a:gd name="connsiteY3" fmla="*/ 0 h 257442"/>
              <a:gd name="connsiteX0" fmla="*/ 2975393 w 2975393"/>
              <a:gd name="connsiteY0" fmla="*/ 0 h 257442"/>
              <a:gd name="connsiteX1" fmla="*/ 2752358 w 2975393"/>
              <a:gd name="connsiteY1" fmla="*/ 257442 h 257442"/>
              <a:gd name="connsiteX2" fmla="*/ 0 w 2975393"/>
              <a:gd name="connsiteY2" fmla="*/ 257442 h 257442"/>
              <a:gd name="connsiteX3" fmla="*/ 54721 w 2975393"/>
              <a:gd name="connsiteY3" fmla="*/ 0 h 257442"/>
              <a:gd name="connsiteX0" fmla="*/ 2975393 w 2975393"/>
              <a:gd name="connsiteY0" fmla="*/ 0 h 257442"/>
              <a:gd name="connsiteX1" fmla="*/ 2920672 w 2975393"/>
              <a:gd name="connsiteY1" fmla="*/ 257442 h 257442"/>
              <a:gd name="connsiteX2" fmla="*/ 0 w 2975393"/>
              <a:gd name="connsiteY2" fmla="*/ 257442 h 257442"/>
              <a:gd name="connsiteX3" fmla="*/ 54721 w 2975393"/>
              <a:gd name="connsiteY3" fmla="*/ 0 h 257442"/>
              <a:gd name="connsiteX0" fmla="*/ 2975393 w 2975393"/>
              <a:gd name="connsiteY0" fmla="*/ 0 h 257442"/>
              <a:gd name="connsiteX1" fmla="*/ 2920672 w 2975393"/>
              <a:gd name="connsiteY1" fmla="*/ 257442 h 257442"/>
              <a:gd name="connsiteX2" fmla="*/ 0 w 2975393"/>
              <a:gd name="connsiteY2" fmla="*/ 257442 h 257442"/>
              <a:gd name="connsiteX3" fmla="*/ 54721 w 2975393"/>
              <a:gd name="connsiteY3" fmla="*/ 0 h 257442"/>
              <a:gd name="connsiteX0" fmla="*/ 2975393 w 2975393"/>
              <a:gd name="connsiteY0" fmla="*/ 0 h 257442"/>
              <a:gd name="connsiteX1" fmla="*/ 2920672 w 2975393"/>
              <a:gd name="connsiteY1" fmla="*/ 257442 h 257442"/>
              <a:gd name="connsiteX2" fmla="*/ 0 w 2975393"/>
              <a:gd name="connsiteY2" fmla="*/ 257442 h 257442"/>
              <a:gd name="connsiteX3" fmla="*/ 54721 w 2975393"/>
              <a:gd name="connsiteY3" fmla="*/ 0 h 257442"/>
              <a:gd name="connsiteX0" fmla="*/ 3143708 w 3143708"/>
              <a:gd name="connsiteY0" fmla="*/ 0 h 257442"/>
              <a:gd name="connsiteX1" fmla="*/ 2920672 w 3143708"/>
              <a:gd name="connsiteY1" fmla="*/ 257442 h 257442"/>
              <a:gd name="connsiteX2" fmla="*/ 0 w 3143708"/>
              <a:gd name="connsiteY2" fmla="*/ 257442 h 257442"/>
              <a:gd name="connsiteX3" fmla="*/ 54721 w 3143708"/>
              <a:gd name="connsiteY3" fmla="*/ 0 h 257442"/>
              <a:gd name="connsiteX0" fmla="*/ 3143708 w 3143708"/>
              <a:gd name="connsiteY0" fmla="*/ 0 h 257442"/>
              <a:gd name="connsiteX1" fmla="*/ 3088987 w 3143708"/>
              <a:gd name="connsiteY1" fmla="*/ 257442 h 257442"/>
              <a:gd name="connsiteX2" fmla="*/ 0 w 3143708"/>
              <a:gd name="connsiteY2" fmla="*/ 257442 h 257442"/>
              <a:gd name="connsiteX3" fmla="*/ 54721 w 3143708"/>
              <a:gd name="connsiteY3" fmla="*/ 0 h 257442"/>
              <a:gd name="connsiteX0" fmla="*/ 3143709 w 3143709"/>
              <a:gd name="connsiteY0" fmla="*/ 0 h 257442"/>
              <a:gd name="connsiteX1" fmla="*/ 3088988 w 3143709"/>
              <a:gd name="connsiteY1" fmla="*/ 257442 h 257442"/>
              <a:gd name="connsiteX2" fmla="*/ 0 w 3143709"/>
              <a:gd name="connsiteY2" fmla="*/ 257442 h 257442"/>
              <a:gd name="connsiteX3" fmla="*/ 54722 w 3143709"/>
              <a:gd name="connsiteY3" fmla="*/ 0 h 257442"/>
              <a:gd name="connsiteX0" fmla="*/ 3143709 w 3143709"/>
              <a:gd name="connsiteY0" fmla="*/ 0 h 257442"/>
              <a:gd name="connsiteX1" fmla="*/ 3088988 w 3143709"/>
              <a:gd name="connsiteY1" fmla="*/ 257442 h 257442"/>
              <a:gd name="connsiteX2" fmla="*/ 0 w 3143709"/>
              <a:gd name="connsiteY2" fmla="*/ 257442 h 257442"/>
              <a:gd name="connsiteX3" fmla="*/ 54722 w 3143709"/>
              <a:gd name="connsiteY3" fmla="*/ 0 h 257442"/>
              <a:gd name="connsiteX0" fmla="*/ 3321643 w 3321643"/>
              <a:gd name="connsiteY0" fmla="*/ 0 h 257442"/>
              <a:gd name="connsiteX1" fmla="*/ 3088988 w 3321643"/>
              <a:gd name="connsiteY1" fmla="*/ 257442 h 257442"/>
              <a:gd name="connsiteX2" fmla="*/ 0 w 3321643"/>
              <a:gd name="connsiteY2" fmla="*/ 257442 h 257442"/>
              <a:gd name="connsiteX3" fmla="*/ 54722 w 3321643"/>
              <a:gd name="connsiteY3" fmla="*/ 0 h 257442"/>
              <a:gd name="connsiteX0" fmla="*/ 3321643 w 3321643"/>
              <a:gd name="connsiteY0" fmla="*/ 0 h 257442"/>
              <a:gd name="connsiteX1" fmla="*/ 3266922 w 3321643"/>
              <a:gd name="connsiteY1" fmla="*/ 257442 h 257442"/>
              <a:gd name="connsiteX2" fmla="*/ 0 w 3321643"/>
              <a:gd name="connsiteY2" fmla="*/ 257442 h 257442"/>
              <a:gd name="connsiteX3" fmla="*/ 54722 w 3321643"/>
              <a:gd name="connsiteY3" fmla="*/ 0 h 257442"/>
              <a:gd name="connsiteX0" fmla="*/ 3321642 w 3321642"/>
              <a:gd name="connsiteY0" fmla="*/ 0 h 257442"/>
              <a:gd name="connsiteX1" fmla="*/ 3266921 w 3321642"/>
              <a:gd name="connsiteY1" fmla="*/ 257442 h 257442"/>
              <a:gd name="connsiteX2" fmla="*/ 0 w 3321642"/>
              <a:gd name="connsiteY2" fmla="*/ 257442 h 257442"/>
              <a:gd name="connsiteX3" fmla="*/ 54721 w 3321642"/>
              <a:gd name="connsiteY3" fmla="*/ 0 h 257442"/>
              <a:gd name="connsiteX0" fmla="*/ 3321642 w 3321642"/>
              <a:gd name="connsiteY0" fmla="*/ 0 h 257442"/>
              <a:gd name="connsiteX1" fmla="*/ 3266921 w 3321642"/>
              <a:gd name="connsiteY1" fmla="*/ 257442 h 257442"/>
              <a:gd name="connsiteX2" fmla="*/ 0 w 3321642"/>
              <a:gd name="connsiteY2" fmla="*/ 257442 h 257442"/>
              <a:gd name="connsiteX3" fmla="*/ 54720 w 3321642"/>
              <a:gd name="connsiteY3" fmla="*/ 0 h 257442"/>
              <a:gd name="connsiteX0" fmla="*/ 3626212 w 3626212"/>
              <a:gd name="connsiteY0" fmla="*/ 0 h 257442"/>
              <a:gd name="connsiteX1" fmla="*/ 3266921 w 3626212"/>
              <a:gd name="connsiteY1" fmla="*/ 257442 h 257442"/>
              <a:gd name="connsiteX2" fmla="*/ 0 w 3626212"/>
              <a:gd name="connsiteY2" fmla="*/ 257442 h 257442"/>
              <a:gd name="connsiteX3" fmla="*/ 54720 w 3626212"/>
              <a:gd name="connsiteY3" fmla="*/ 0 h 257442"/>
              <a:gd name="connsiteX0" fmla="*/ 3626212 w 3626212"/>
              <a:gd name="connsiteY0" fmla="*/ 0 h 257442"/>
              <a:gd name="connsiteX1" fmla="*/ 3571491 w 3626212"/>
              <a:gd name="connsiteY1" fmla="*/ 257442 h 257442"/>
              <a:gd name="connsiteX2" fmla="*/ 0 w 3626212"/>
              <a:gd name="connsiteY2" fmla="*/ 257442 h 257442"/>
              <a:gd name="connsiteX3" fmla="*/ 54720 w 3626212"/>
              <a:gd name="connsiteY3" fmla="*/ 0 h 257442"/>
              <a:gd name="connsiteX0" fmla="*/ 3626213 w 3626213"/>
              <a:gd name="connsiteY0" fmla="*/ 0 h 257442"/>
              <a:gd name="connsiteX1" fmla="*/ 3571492 w 3626213"/>
              <a:gd name="connsiteY1" fmla="*/ 257442 h 257442"/>
              <a:gd name="connsiteX2" fmla="*/ 0 w 3626213"/>
              <a:gd name="connsiteY2" fmla="*/ 257442 h 257442"/>
              <a:gd name="connsiteX3" fmla="*/ 54721 w 3626213"/>
              <a:gd name="connsiteY3" fmla="*/ 0 h 257442"/>
              <a:gd name="connsiteX0" fmla="*/ 3626213 w 3626213"/>
              <a:gd name="connsiteY0" fmla="*/ 0 h 257442"/>
              <a:gd name="connsiteX1" fmla="*/ 3571492 w 3626213"/>
              <a:gd name="connsiteY1" fmla="*/ 257442 h 257442"/>
              <a:gd name="connsiteX2" fmla="*/ 0 w 3626213"/>
              <a:gd name="connsiteY2" fmla="*/ 257442 h 257442"/>
              <a:gd name="connsiteX3" fmla="*/ 54722 w 3626213"/>
              <a:gd name="connsiteY3" fmla="*/ 0 h 257442"/>
              <a:gd name="connsiteX0" fmla="*/ 3812162 w 3812162"/>
              <a:gd name="connsiteY0" fmla="*/ 0 h 257442"/>
              <a:gd name="connsiteX1" fmla="*/ 3571492 w 3812162"/>
              <a:gd name="connsiteY1" fmla="*/ 257442 h 257442"/>
              <a:gd name="connsiteX2" fmla="*/ 0 w 3812162"/>
              <a:gd name="connsiteY2" fmla="*/ 257442 h 257442"/>
              <a:gd name="connsiteX3" fmla="*/ 54722 w 3812162"/>
              <a:gd name="connsiteY3" fmla="*/ 0 h 257442"/>
              <a:gd name="connsiteX0" fmla="*/ 3812162 w 3812162"/>
              <a:gd name="connsiteY0" fmla="*/ 0 h 257442"/>
              <a:gd name="connsiteX1" fmla="*/ 3757440 w 3812162"/>
              <a:gd name="connsiteY1" fmla="*/ 257442 h 257442"/>
              <a:gd name="connsiteX2" fmla="*/ 0 w 3812162"/>
              <a:gd name="connsiteY2" fmla="*/ 257442 h 257442"/>
              <a:gd name="connsiteX3" fmla="*/ 54722 w 3812162"/>
              <a:gd name="connsiteY3" fmla="*/ 0 h 257442"/>
              <a:gd name="connsiteX0" fmla="*/ 3812162 w 3812162"/>
              <a:gd name="connsiteY0" fmla="*/ 0 h 257442"/>
              <a:gd name="connsiteX1" fmla="*/ 3757440 w 3812162"/>
              <a:gd name="connsiteY1" fmla="*/ 257442 h 257442"/>
              <a:gd name="connsiteX2" fmla="*/ 0 w 3812162"/>
              <a:gd name="connsiteY2" fmla="*/ 257442 h 257442"/>
              <a:gd name="connsiteX3" fmla="*/ 54722 w 3812162"/>
              <a:gd name="connsiteY3" fmla="*/ 0 h 257442"/>
              <a:gd name="connsiteX0" fmla="*/ 3812162 w 3812162"/>
              <a:gd name="connsiteY0" fmla="*/ 0 h 257442"/>
              <a:gd name="connsiteX1" fmla="*/ 3757440 w 3812162"/>
              <a:gd name="connsiteY1" fmla="*/ 257442 h 257442"/>
              <a:gd name="connsiteX2" fmla="*/ 0 w 3812162"/>
              <a:gd name="connsiteY2" fmla="*/ 257442 h 257442"/>
              <a:gd name="connsiteX3" fmla="*/ 54721 w 3812162"/>
              <a:gd name="connsiteY3" fmla="*/ 0 h 257442"/>
              <a:gd name="connsiteX0" fmla="*/ 3972460 w 3972460"/>
              <a:gd name="connsiteY0" fmla="*/ 0 h 257442"/>
              <a:gd name="connsiteX1" fmla="*/ 3757440 w 3972460"/>
              <a:gd name="connsiteY1" fmla="*/ 257442 h 257442"/>
              <a:gd name="connsiteX2" fmla="*/ 0 w 3972460"/>
              <a:gd name="connsiteY2" fmla="*/ 257442 h 257442"/>
              <a:gd name="connsiteX3" fmla="*/ 54721 w 3972460"/>
              <a:gd name="connsiteY3" fmla="*/ 0 h 257442"/>
              <a:gd name="connsiteX0" fmla="*/ 3972460 w 3972460"/>
              <a:gd name="connsiteY0" fmla="*/ 0 h 257442"/>
              <a:gd name="connsiteX1" fmla="*/ 3917739 w 3972460"/>
              <a:gd name="connsiteY1" fmla="*/ 257442 h 257442"/>
              <a:gd name="connsiteX2" fmla="*/ 0 w 3972460"/>
              <a:gd name="connsiteY2" fmla="*/ 257442 h 257442"/>
              <a:gd name="connsiteX3" fmla="*/ 54721 w 3972460"/>
              <a:gd name="connsiteY3" fmla="*/ 0 h 257442"/>
              <a:gd name="connsiteX0" fmla="*/ 3972460 w 3972460"/>
              <a:gd name="connsiteY0" fmla="*/ 0 h 257442"/>
              <a:gd name="connsiteX1" fmla="*/ 3917739 w 3972460"/>
              <a:gd name="connsiteY1" fmla="*/ 257442 h 257442"/>
              <a:gd name="connsiteX2" fmla="*/ 0 w 3972460"/>
              <a:gd name="connsiteY2" fmla="*/ 257442 h 257442"/>
              <a:gd name="connsiteX3" fmla="*/ 54721 w 3972460"/>
              <a:gd name="connsiteY3" fmla="*/ 0 h 257442"/>
              <a:gd name="connsiteX0" fmla="*/ 3972460 w 3972460"/>
              <a:gd name="connsiteY0" fmla="*/ 0 h 257442"/>
              <a:gd name="connsiteX1" fmla="*/ 3917739 w 3972460"/>
              <a:gd name="connsiteY1" fmla="*/ 257442 h 257442"/>
              <a:gd name="connsiteX2" fmla="*/ 0 w 3972460"/>
              <a:gd name="connsiteY2" fmla="*/ 257442 h 257442"/>
              <a:gd name="connsiteX3" fmla="*/ 54721 w 3972460"/>
              <a:gd name="connsiteY3" fmla="*/ 0 h 257442"/>
              <a:gd name="connsiteX0" fmla="*/ 4140777 w 4140777"/>
              <a:gd name="connsiteY0" fmla="*/ 0 h 257442"/>
              <a:gd name="connsiteX1" fmla="*/ 3917739 w 4140777"/>
              <a:gd name="connsiteY1" fmla="*/ 257442 h 257442"/>
              <a:gd name="connsiteX2" fmla="*/ 0 w 4140777"/>
              <a:gd name="connsiteY2" fmla="*/ 257442 h 257442"/>
              <a:gd name="connsiteX3" fmla="*/ 54721 w 4140777"/>
              <a:gd name="connsiteY3" fmla="*/ 0 h 257442"/>
              <a:gd name="connsiteX0" fmla="*/ 4140777 w 4140777"/>
              <a:gd name="connsiteY0" fmla="*/ 0 h 257442"/>
              <a:gd name="connsiteX1" fmla="*/ 4086056 w 4140777"/>
              <a:gd name="connsiteY1" fmla="*/ 257442 h 257442"/>
              <a:gd name="connsiteX2" fmla="*/ 0 w 4140777"/>
              <a:gd name="connsiteY2" fmla="*/ 257442 h 257442"/>
              <a:gd name="connsiteX3" fmla="*/ 54721 w 4140777"/>
              <a:gd name="connsiteY3" fmla="*/ 0 h 257442"/>
              <a:gd name="connsiteX0" fmla="*/ 4140777 w 4140777"/>
              <a:gd name="connsiteY0" fmla="*/ 0 h 257442"/>
              <a:gd name="connsiteX1" fmla="*/ 4086056 w 4140777"/>
              <a:gd name="connsiteY1" fmla="*/ 257442 h 257442"/>
              <a:gd name="connsiteX2" fmla="*/ 0 w 4140777"/>
              <a:gd name="connsiteY2" fmla="*/ 257442 h 257442"/>
              <a:gd name="connsiteX3" fmla="*/ 54721 w 4140777"/>
              <a:gd name="connsiteY3" fmla="*/ 0 h 257442"/>
              <a:gd name="connsiteX0" fmla="*/ 4140777 w 4140777"/>
              <a:gd name="connsiteY0" fmla="*/ 0 h 257442"/>
              <a:gd name="connsiteX1" fmla="*/ 4086056 w 4140777"/>
              <a:gd name="connsiteY1" fmla="*/ 257442 h 257442"/>
              <a:gd name="connsiteX2" fmla="*/ 0 w 4140777"/>
              <a:gd name="connsiteY2" fmla="*/ 257442 h 257442"/>
              <a:gd name="connsiteX3" fmla="*/ 54721 w 4140777"/>
              <a:gd name="connsiteY3" fmla="*/ 0 h 257442"/>
              <a:gd name="connsiteX0" fmla="*/ 950801 w 4086056"/>
              <a:gd name="connsiteY0" fmla="*/ 0 h 257442"/>
              <a:gd name="connsiteX1" fmla="*/ 4086056 w 4086056"/>
              <a:gd name="connsiteY1" fmla="*/ 257442 h 257442"/>
              <a:gd name="connsiteX2" fmla="*/ 0 w 4086056"/>
              <a:gd name="connsiteY2" fmla="*/ 257442 h 257442"/>
              <a:gd name="connsiteX3" fmla="*/ 54721 w 4086056"/>
              <a:gd name="connsiteY3" fmla="*/ 0 h 257442"/>
              <a:gd name="connsiteX0" fmla="*/ 950801 w 950801"/>
              <a:gd name="connsiteY0" fmla="*/ 0 h 257442"/>
              <a:gd name="connsiteX1" fmla="*/ 896080 w 950801"/>
              <a:gd name="connsiteY1" fmla="*/ 257442 h 257442"/>
              <a:gd name="connsiteX2" fmla="*/ 0 w 950801"/>
              <a:gd name="connsiteY2" fmla="*/ 257442 h 257442"/>
              <a:gd name="connsiteX3" fmla="*/ 54721 w 950801"/>
              <a:gd name="connsiteY3" fmla="*/ 0 h 257442"/>
              <a:gd name="connsiteX0" fmla="*/ 950800 w 950800"/>
              <a:gd name="connsiteY0" fmla="*/ 0 h 257442"/>
              <a:gd name="connsiteX1" fmla="*/ 896079 w 950800"/>
              <a:gd name="connsiteY1" fmla="*/ 257442 h 257442"/>
              <a:gd name="connsiteX2" fmla="*/ 0 w 950800"/>
              <a:gd name="connsiteY2" fmla="*/ 257442 h 257442"/>
              <a:gd name="connsiteX3" fmla="*/ 54720 w 950800"/>
              <a:gd name="connsiteY3" fmla="*/ 0 h 257442"/>
              <a:gd name="connsiteX0" fmla="*/ 950800 w 950800"/>
              <a:gd name="connsiteY0" fmla="*/ 0 h 257442"/>
              <a:gd name="connsiteX1" fmla="*/ 896079 w 950800"/>
              <a:gd name="connsiteY1" fmla="*/ 257442 h 257442"/>
              <a:gd name="connsiteX2" fmla="*/ 0 w 950800"/>
              <a:gd name="connsiteY2" fmla="*/ 257442 h 257442"/>
              <a:gd name="connsiteX3" fmla="*/ 54720 w 950800"/>
              <a:gd name="connsiteY3" fmla="*/ 0 h 257442"/>
              <a:gd name="connsiteX0" fmla="*/ 1119115 w 1119115"/>
              <a:gd name="connsiteY0" fmla="*/ 0 h 257442"/>
              <a:gd name="connsiteX1" fmla="*/ 896079 w 1119115"/>
              <a:gd name="connsiteY1" fmla="*/ 257442 h 257442"/>
              <a:gd name="connsiteX2" fmla="*/ 0 w 1119115"/>
              <a:gd name="connsiteY2" fmla="*/ 257442 h 257442"/>
              <a:gd name="connsiteX3" fmla="*/ 54720 w 1119115"/>
              <a:gd name="connsiteY3" fmla="*/ 0 h 257442"/>
              <a:gd name="connsiteX0" fmla="*/ 1119115 w 1119115"/>
              <a:gd name="connsiteY0" fmla="*/ 0 h 257442"/>
              <a:gd name="connsiteX1" fmla="*/ 1064394 w 1119115"/>
              <a:gd name="connsiteY1" fmla="*/ 257442 h 257442"/>
              <a:gd name="connsiteX2" fmla="*/ 0 w 1119115"/>
              <a:gd name="connsiteY2" fmla="*/ 257442 h 257442"/>
              <a:gd name="connsiteX3" fmla="*/ 54720 w 1119115"/>
              <a:gd name="connsiteY3" fmla="*/ 0 h 257442"/>
              <a:gd name="connsiteX0" fmla="*/ 1119116 w 1119116"/>
              <a:gd name="connsiteY0" fmla="*/ 0 h 257442"/>
              <a:gd name="connsiteX1" fmla="*/ 1064395 w 1119116"/>
              <a:gd name="connsiteY1" fmla="*/ 257442 h 257442"/>
              <a:gd name="connsiteX2" fmla="*/ 0 w 1119116"/>
              <a:gd name="connsiteY2" fmla="*/ 257442 h 257442"/>
              <a:gd name="connsiteX3" fmla="*/ 54721 w 1119116"/>
              <a:gd name="connsiteY3" fmla="*/ 0 h 257442"/>
              <a:gd name="connsiteX0" fmla="*/ 1119116 w 1119116"/>
              <a:gd name="connsiteY0" fmla="*/ 0 h 257442"/>
              <a:gd name="connsiteX1" fmla="*/ 1064395 w 1119116"/>
              <a:gd name="connsiteY1" fmla="*/ 257442 h 257442"/>
              <a:gd name="connsiteX2" fmla="*/ 0 w 1119116"/>
              <a:gd name="connsiteY2" fmla="*/ 257442 h 257442"/>
              <a:gd name="connsiteX3" fmla="*/ 54721 w 1119116"/>
              <a:gd name="connsiteY3" fmla="*/ 0 h 257442"/>
              <a:gd name="connsiteX0" fmla="*/ 1297050 w 1297050"/>
              <a:gd name="connsiteY0" fmla="*/ 0 h 257442"/>
              <a:gd name="connsiteX1" fmla="*/ 1064395 w 1297050"/>
              <a:gd name="connsiteY1" fmla="*/ 257442 h 257442"/>
              <a:gd name="connsiteX2" fmla="*/ 0 w 1297050"/>
              <a:gd name="connsiteY2" fmla="*/ 257442 h 257442"/>
              <a:gd name="connsiteX3" fmla="*/ 54721 w 1297050"/>
              <a:gd name="connsiteY3" fmla="*/ 0 h 257442"/>
              <a:gd name="connsiteX0" fmla="*/ 1297050 w 1297050"/>
              <a:gd name="connsiteY0" fmla="*/ 0 h 257442"/>
              <a:gd name="connsiteX1" fmla="*/ 1242329 w 1297050"/>
              <a:gd name="connsiteY1" fmla="*/ 257442 h 257442"/>
              <a:gd name="connsiteX2" fmla="*/ 0 w 1297050"/>
              <a:gd name="connsiteY2" fmla="*/ 257442 h 257442"/>
              <a:gd name="connsiteX3" fmla="*/ 54721 w 1297050"/>
              <a:gd name="connsiteY3" fmla="*/ 0 h 257442"/>
              <a:gd name="connsiteX0" fmla="*/ 1297050 w 1297050"/>
              <a:gd name="connsiteY0" fmla="*/ 0 h 257442"/>
              <a:gd name="connsiteX1" fmla="*/ 1242329 w 1297050"/>
              <a:gd name="connsiteY1" fmla="*/ 257442 h 257442"/>
              <a:gd name="connsiteX2" fmla="*/ 0 w 1297050"/>
              <a:gd name="connsiteY2" fmla="*/ 257442 h 257442"/>
              <a:gd name="connsiteX3" fmla="*/ 54721 w 1297050"/>
              <a:gd name="connsiteY3" fmla="*/ 0 h 257442"/>
              <a:gd name="connsiteX0" fmla="*/ 1297050 w 1297050"/>
              <a:gd name="connsiteY0" fmla="*/ 0 h 257442"/>
              <a:gd name="connsiteX1" fmla="*/ 1242329 w 1297050"/>
              <a:gd name="connsiteY1" fmla="*/ 257442 h 257442"/>
              <a:gd name="connsiteX2" fmla="*/ 0 w 1297050"/>
              <a:gd name="connsiteY2" fmla="*/ 257442 h 257442"/>
              <a:gd name="connsiteX3" fmla="*/ 54721 w 1297050"/>
              <a:gd name="connsiteY3" fmla="*/ 0 h 257442"/>
              <a:gd name="connsiteX0" fmla="*/ 1575972 w 1575972"/>
              <a:gd name="connsiteY0" fmla="*/ 0 h 257442"/>
              <a:gd name="connsiteX1" fmla="*/ 1242329 w 1575972"/>
              <a:gd name="connsiteY1" fmla="*/ 257442 h 257442"/>
              <a:gd name="connsiteX2" fmla="*/ 0 w 1575972"/>
              <a:gd name="connsiteY2" fmla="*/ 257442 h 257442"/>
              <a:gd name="connsiteX3" fmla="*/ 54721 w 1575972"/>
              <a:gd name="connsiteY3" fmla="*/ 0 h 257442"/>
              <a:gd name="connsiteX0" fmla="*/ 1575972 w 1575972"/>
              <a:gd name="connsiteY0" fmla="*/ 0 h 257442"/>
              <a:gd name="connsiteX1" fmla="*/ 1521251 w 1575972"/>
              <a:gd name="connsiteY1" fmla="*/ 257442 h 257442"/>
              <a:gd name="connsiteX2" fmla="*/ 0 w 1575972"/>
              <a:gd name="connsiteY2" fmla="*/ 257442 h 257442"/>
              <a:gd name="connsiteX3" fmla="*/ 54721 w 1575972"/>
              <a:gd name="connsiteY3" fmla="*/ 0 h 257442"/>
              <a:gd name="connsiteX0" fmla="*/ 1575972 w 1575972"/>
              <a:gd name="connsiteY0" fmla="*/ 0 h 257442"/>
              <a:gd name="connsiteX1" fmla="*/ 1521251 w 1575972"/>
              <a:gd name="connsiteY1" fmla="*/ 257442 h 257442"/>
              <a:gd name="connsiteX2" fmla="*/ 0 w 1575972"/>
              <a:gd name="connsiteY2" fmla="*/ 257442 h 257442"/>
              <a:gd name="connsiteX3" fmla="*/ 54721 w 1575972"/>
              <a:gd name="connsiteY3" fmla="*/ 0 h 257442"/>
              <a:gd name="connsiteX0" fmla="*/ 1575972 w 1575972"/>
              <a:gd name="connsiteY0" fmla="*/ 0 h 257442"/>
              <a:gd name="connsiteX1" fmla="*/ 1521251 w 1575972"/>
              <a:gd name="connsiteY1" fmla="*/ 257442 h 257442"/>
              <a:gd name="connsiteX2" fmla="*/ 0 w 1575972"/>
              <a:gd name="connsiteY2" fmla="*/ 257442 h 257442"/>
              <a:gd name="connsiteX3" fmla="*/ 54721 w 1575972"/>
              <a:gd name="connsiteY3" fmla="*/ 0 h 257442"/>
              <a:gd name="connsiteX0" fmla="*/ 1744287 w 1744287"/>
              <a:gd name="connsiteY0" fmla="*/ 0 h 257442"/>
              <a:gd name="connsiteX1" fmla="*/ 1521251 w 1744287"/>
              <a:gd name="connsiteY1" fmla="*/ 257442 h 257442"/>
              <a:gd name="connsiteX2" fmla="*/ 0 w 1744287"/>
              <a:gd name="connsiteY2" fmla="*/ 257442 h 257442"/>
              <a:gd name="connsiteX3" fmla="*/ 54721 w 1744287"/>
              <a:gd name="connsiteY3" fmla="*/ 0 h 257442"/>
              <a:gd name="connsiteX0" fmla="*/ 1744287 w 1744287"/>
              <a:gd name="connsiteY0" fmla="*/ 0 h 257442"/>
              <a:gd name="connsiteX1" fmla="*/ 1689566 w 1744287"/>
              <a:gd name="connsiteY1" fmla="*/ 257442 h 257442"/>
              <a:gd name="connsiteX2" fmla="*/ 0 w 1744287"/>
              <a:gd name="connsiteY2" fmla="*/ 257442 h 257442"/>
              <a:gd name="connsiteX3" fmla="*/ 54721 w 1744287"/>
              <a:gd name="connsiteY3" fmla="*/ 0 h 257442"/>
              <a:gd name="connsiteX0" fmla="*/ 1744287 w 1744287"/>
              <a:gd name="connsiteY0" fmla="*/ 0 h 257442"/>
              <a:gd name="connsiteX1" fmla="*/ 1689566 w 1744287"/>
              <a:gd name="connsiteY1" fmla="*/ 257442 h 257442"/>
              <a:gd name="connsiteX2" fmla="*/ 0 w 1744287"/>
              <a:gd name="connsiteY2" fmla="*/ 257442 h 257442"/>
              <a:gd name="connsiteX3" fmla="*/ 54721 w 1744287"/>
              <a:gd name="connsiteY3" fmla="*/ 0 h 257442"/>
              <a:gd name="connsiteX0" fmla="*/ 1744287 w 1744287"/>
              <a:gd name="connsiteY0" fmla="*/ 0 h 257442"/>
              <a:gd name="connsiteX1" fmla="*/ 1689566 w 1744287"/>
              <a:gd name="connsiteY1" fmla="*/ 257442 h 257442"/>
              <a:gd name="connsiteX2" fmla="*/ 0 w 1744287"/>
              <a:gd name="connsiteY2" fmla="*/ 257442 h 257442"/>
              <a:gd name="connsiteX3" fmla="*/ 54721 w 1744287"/>
              <a:gd name="connsiteY3" fmla="*/ 0 h 257442"/>
              <a:gd name="connsiteX0" fmla="*/ 1946265 w 1946265"/>
              <a:gd name="connsiteY0" fmla="*/ 0 h 257442"/>
              <a:gd name="connsiteX1" fmla="*/ 1689566 w 1946265"/>
              <a:gd name="connsiteY1" fmla="*/ 257442 h 257442"/>
              <a:gd name="connsiteX2" fmla="*/ 0 w 1946265"/>
              <a:gd name="connsiteY2" fmla="*/ 257442 h 257442"/>
              <a:gd name="connsiteX3" fmla="*/ 54721 w 1946265"/>
              <a:gd name="connsiteY3" fmla="*/ 0 h 257442"/>
              <a:gd name="connsiteX0" fmla="*/ 1946265 w 1946265"/>
              <a:gd name="connsiteY0" fmla="*/ 0 h 257442"/>
              <a:gd name="connsiteX1" fmla="*/ 1891544 w 1946265"/>
              <a:gd name="connsiteY1" fmla="*/ 257442 h 257442"/>
              <a:gd name="connsiteX2" fmla="*/ 0 w 1946265"/>
              <a:gd name="connsiteY2" fmla="*/ 257442 h 257442"/>
              <a:gd name="connsiteX3" fmla="*/ 54721 w 1946265"/>
              <a:gd name="connsiteY3" fmla="*/ 0 h 257442"/>
              <a:gd name="connsiteX0" fmla="*/ 1946265 w 1946265"/>
              <a:gd name="connsiteY0" fmla="*/ 0 h 257442"/>
              <a:gd name="connsiteX1" fmla="*/ 1891544 w 1946265"/>
              <a:gd name="connsiteY1" fmla="*/ 257442 h 257442"/>
              <a:gd name="connsiteX2" fmla="*/ 0 w 1946265"/>
              <a:gd name="connsiteY2" fmla="*/ 257442 h 257442"/>
              <a:gd name="connsiteX3" fmla="*/ 54721 w 1946265"/>
              <a:gd name="connsiteY3" fmla="*/ 0 h 257442"/>
              <a:gd name="connsiteX0" fmla="*/ 1946265 w 1946265"/>
              <a:gd name="connsiteY0" fmla="*/ 0 h 257442"/>
              <a:gd name="connsiteX1" fmla="*/ 1891544 w 1946265"/>
              <a:gd name="connsiteY1" fmla="*/ 257442 h 257442"/>
              <a:gd name="connsiteX2" fmla="*/ 0 w 1946265"/>
              <a:gd name="connsiteY2" fmla="*/ 257442 h 257442"/>
              <a:gd name="connsiteX3" fmla="*/ 54721 w 1946265"/>
              <a:gd name="connsiteY3" fmla="*/ 0 h 257442"/>
              <a:gd name="connsiteX0" fmla="*/ 2106566 w 2106566"/>
              <a:gd name="connsiteY0" fmla="*/ 0 h 257442"/>
              <a:gd name="connsiteX1" fmla="*/ 1891544 w 2106566"/>
              <a:gd name="connsiteY1" fmla="*/ 257442 h 257442"/>
              <a:gd name="connsiteX2" fmla="*/ 0 w 2106566"/>
              <a:gd name="connsiteY2" fmla="*/ 257442 h 257442"/>
              <a:gd name="connsiteX3" fmla="*/ 54721 w 2106566"/>
              <a:gd name="connsiteY3" fmla="*/ 0 h 257442"/>
              <a:gd name="connsiteX0" fmla="*/ 2106566 w 2106566"/>
              <a:gd name="connsiteY0" fmla="*/ 0 h 257442"/>
              <a:gd name="connsiteX1" fmla="*/ 2051844 w 2106566"/>
              <a:gd name="connsiteY1" fmla="*/ 257442 h 257442"/>
              <a:gd name="connsiteX2" fmla="*/ 0 w 2106566"/>
              <a:gd name="connsiteY2" fmla="*/ 257442 h 257442"/>
              <a:gd name="connsiteX3" fmla="*/ 54721 w 2106566"/>
              <a:gd name="connsiteY3" fmla="*/ 0 h 257442"/>
              <a:gd name="connsiteX0" fmla="*/ 2106567 w 2106567"/>
              <a:gd name="connsiteY0" fmla="*/ 0 h 257442"/>
              <a:gd name="connsiteX1" fmla="*/ 2051845 w 2106567"/>
              <a:gd name="connsiteY1" fmla="*/ 257442 h 257442"/>
              <a:gd name="connsiteX2" fmla="*/ 0 w 2106567"/>
              <a:gd name="connsiteY2" fmla="*/ 257442 h 257442"/>
              <a:gd name="connsiteX3" fmla="*/ 54722 w 2106567"/>
              <a:gd name="connsiteY3" fmla="*/ 0 h 257442"/>
              <a:gd name="connsiteX0" fmla="*/ 2106567 w 2106567"/>
              <a:gd name="connsiteY0" fmla="*/ 0 h 257442"/>
              <a:gd name="connsiteX1" fmla="*/ 2051845 w 2106567"/>
              <a:gd name="connsiteY1" fmla="*/ 257442 h 257442"/>
              <a:gd name="connsiteX2" fmla="*/ 0 w 2106567"/>
              <a:gd name="connsiteY2" fmla="*/ 257442 h 257442"/>
              <a:gd name="connsiteX3" fmla="*/ 54722 w 2106567"/>
              <a:gd name="connsiteY3" fmla="*/ 0 h 257442"/>
              <a:gd name="connsiteX0" fmla="*/ 2266867 w 2266867"/>
              <a:gd name="connsiteY0" fmla="*/ 0 h 257442"/>
              <a:gd name="connsiteX1" fmla="*/ 2051845 w 2266867"/>
              <a:gd name="connsiteY1" fmla="*/ 257442 h 257442"/>
              <a:gd name="connsiteX2" fmla="*/ 0 w 2266867"/>
              <a:gd name="connsiteY2" fmla="*/ 257442 h 257442"/>
              <a:gd name="connsiteX3" fmla="*/ 54722 w 2266867"/>
              <a:gd name="connsiteY3" fmla="*/ 0 h 257442"/>
              <a:gd name="connsiteX0" fmla="*/ 2266867 w 2266867"/>
              <a:gd name="connsiteY0" fmla="*/ 0 h 257442"/>
              <a:gd name="connsiteX1" fmla="*/ 2212146 w 2266867"/>
              <a:gd name="connsiteY1" fmla="*/ 257442 h 257442"/>
              <a:gd name="connsiteX2" fmla="*/ 0 w 2266867"/>
              <a:gd name="connsiteY2" fmla="*/ 257442 h 257442"/>
              <a:gd name="connsiteX3" fmla="*/ 54722 w 2266867"/>
              <a:gd name="connsiteY3" fmla="*/ 0 h 257442"/>
              <a:gd name="connsiteX0" fmla="*/ 2266866 w 2266866"/>
              <a:gd name="connsiteY0" fmla="*/ 0 h 257442"/>
              <a:gd name="connsiteX1" fmla="*/ 2212145 w 2266866"/>
              <a:gd name="connsiteY1" fmla="*/ 257442 h 257442"/>
              <a:gd name="connsiteX2" fmla="*/ 0 w 2266866"/>
              <a:gd name="connsiteY2" fmla="*/ 257442 h 257442"/>
              <a:gd name="connsiteX3" fmla="*/ 54721 w 2266866"/>
              <a:gd name="connsiteY3" fmla="*/ 0 h 257442"/>
              <a:gd name="connsiteX0" fmla="*/ 2266866 w 2266866"/>
              <a:gd name="connsiteY0" fmla="*/ 0 h 257442"/>
              <a:gd name="connsiteX1" fmla="*/ 2212145 w 2266866"/>
              <a:gd name="connsiteY1" fmla="*/ 257442 h 257442"/>
              <a:gd name="connsiteX2" fmla="*/ 0 w 2266866"/>
              <a:gd name="connsiteY2" fmla="*/ 257442 h 257442"/>
              <a:gd name="connsiteX3" fmla="*/ 54720 w 2266866"/>
              <a:gd name="connsiteY3" fmla="*/ 0 h 257442"/>
              <a:gd name="connsiteX0" fmla="*/ 2435181 w 2435181"/>
              <a:gd name="connsiteY0" fmla="*/ 0 h 257442"/>
              <a:gd name="connsiteX1" fmla="*/ 2212145 w 2435181"/>
              <a:gd name="connsiteY1" fmla="*/ 257442 h 257442"/>
              <a:gd name="connsiteX2" fmla="*/ 0 w 2435181"/>
              <a:gd name="connsiteY2" fmla="*/ 257442 h 257442"/>
              <a:gd name="connsiteX3" fmla="*/ 54720 w 2435181"/>
              <a:gd name="connsiteY3" fmla="*/ 0 h 257442"/>
              <a:gd name="connsiteX0" fmla="*/ 2435181 w 2435181"/>
              <a:gd name="connsiteY0" fmla="*/ 0 h 257442"/>
              <a:gd name="connsiteX1" fmla="*/ 2380460 w 2435181"/>
              <a:gd name="connsiteY1" fmla="*/ 257442 h 257442"/>
              <a:gd name="connsiteX2" fmla="*/ 0 w 2435181"/>
              <a:gd name="connsiteY2" fmla="*/ 257442 h 257442"/>
              <a:gd name="connsiteX3" fmla="*/ 54720 w 2435181"/>
              <a:gd name="connsiteY3" fmla="*/ 0 h 257442"/>
              <a:gd name="connsiteX0" fmla="*/ 2435182 w 2435182"/>
              <a:gd name="connsiteY0" fmla="*/ 0 h 257442"/>
              <a:gd name="connsiteX1" fmla="*/ 2380461 w 2435182"/>
              <a:gd name="connsiteY1" fmla="*/ 257442 h 257442"/>
              <a:gd name="connsiteX2" fmla="*/ 0 w 2435182"/>
              <a:gd name="connsiteY2" fmla="*/ 257442 h 257442"/>
              <a:gd name="connsiteX3" fmla="*/ 54721 w 2435182"/>
              <a:gd name="connsiteY3" fmla="*/ 0 h 257442"/>
              <a:gd name="connsiteX0" fmla="*/ 2435182 w 2435182"/>
              <a:gd name="connsiteY0" fmla="*/ 0 h 257442"/>
              <a:gd name="connsiteX1" fmla="*/ 2380461 w 2435182"/>
              <a:gd name="connsiteY1" fmla="*/ 257442 h 257442"/>
              <a:gd name="connsiteX2" fmla="*/ 0 w 2435182"/>
              <a:gd name="connsiteY2" fmla="*/ 257442 h 257442"/>
              <a:gd name="connsiteX3" fmla="*/ 54721 w 2435182"/>
              <a:gd name="connsiteY3" fmla="*/ 0 h 257442"/>
              <a:gd name="connsiteX0" fmla="*/ 2266866 w 2380461"/>
              <a:gd name="connsiteY0" fmla="*/ 0 h 257442"/>
              <a:gd name="connsiteX1" fmla="*/ 2380461 w 2380461"/>
              <a:gd name="connsiteY1" fmla="*/ 257442 h 257442"/>
              <a:gd name="connsiteX2" fmla="*/ 0 w 2380461"/>
              <a:gd name="connsiteY2" fmla="*/ 257442 h 257442"/>
              <a:gd name="connsiteX3" fmla="*/ 54721 w 2380461"/>
              <a:gd name="connsiteY3" fmla="*/ 0 h 257442"/>
              <a:gd name="connsiteX0" fmla="*/ 2266866 w 2266866"/>
              <a:gd name="connsiteY0" fmla="*/ 0 h 257442"/>
              <a:gd name="connsiteX1" fmla="*/ 2212146 w 2266866"/>
              <a:gd name="connsiteY1" fmla="*/ 257442 h 257442"/>
              <a:gd name="connsiteX2" fmla="*/ 0 w 2266866"/>
              <a:gd name="connsiteY2" fmla="*/ 257442 h 257442"/>
              <a:gd name="connsiteX3" fmla="*/ 54721 w 2266866"/>
              <a:gd name="connsiteY3" fmla="*/ 0 h 257442"/>
              <a:gd name="connsiteX0" fmla="*/ 2266865 w 2266865"/>
              <a:gd name="connsiteY0" fmla="*/ 0 h 257442"/>
              <a:gd name="connsiteX1" fmla="*/ 2212145 w 2266865"/>
              <a:gd name="connsiteY1" fmla="*/ 257442 h 257442"/>
              <a:gd name="connsiteX2" fmla="*/ 0 w 2266865"/>
              <a:gd name="connsiteY2" fmla="*/ 257442 h 257442"/>
              <a:gd name="connsiteX3" fmla="*/ 54720 w 2266865"/>
              <a:gd name="connsiteY3" fmla="*/ 0 h 257442"/>
              <a:gd name="connsiteX0" fmla="*/ 2266865 w 2266865"/>
              <a:gd name="connsiteY0" fmla="*/ 0 h 257442"/>
              <a:gd name="connsiteX1" fmla="*/ 2212145 w 2266865"/>
              <a:gd name="connsiteY1" fmla="*/ 257442 h 257442"/>
              <a:gd name="connsiteX2" fmla="*/ 0 w 2266865"/>
              <a:gd name="connsiteY2" fmla="*/ 257442 h 257442"/>
              <a:gd name="connsiteX3" fmla="*/ 54721 w 2266865"/>
              <a:gd name="connsiteY3" fmla="*/ 0 h 257442"/>
              <a:gd name="connsiteX0" fmla="*/ 2106566 w 2212145"/>
              <a:gd name="connsiteY0" fmla="*/ 0 h 257442"/>
              <a:gd name="connsiteX1" fmla="*/ 2212145 w 2212145"/>
              <a:gd name="connsiteY1" fmla="*/ 257442 h 257442"/>
              <a:gd name="connsiteX2" fmla="*/ 0 w 2212145"/>
              <a:gd name="connsiteY2" fmla="*/ 257442 h 257442"/>
              <a:gd name="connsiteX3" fmla="*/ 54721 w 2212145"/>
              <a:gd name="connsiteY3" fmla="*/ 0 h 257442"/>
              <a:gd name="connsiteX0" fmla="*/ 2106566 w 2106566"/>
              <a:gd name="connsiteY0" fmla="*/ 0 h 257442"/>
              <a:gd name="connsiteX1" fmla="*/ 2051845 w 2106566"/>
              <a:gd name="connsiteY1" fmla="*/ 257442 h 257442"/>
              <a:gd name="connsiteX2" fmla="*/ 0 w 2106566"/>
              <a:gd name="connsiteY2" fmla="*/ 257442 h 257442"/>
              <a:gd name="connsiteX3" fmla="*/ 54721 w 2106566"/>
              <a:gd name="connsiteY3" fmla="*/ 0 h 257442"/>
              <a:gd name="connsiteX0" fmla="*/ 2106566 w 2106566"/>
              <a:gd name="connsiteY0" fmla="*/ 0 h 257442"/>
              <a:gd name="connsiteX1" fmla="*/ 2051845 w 2106566"/>
              <a:gd name="connsiteY1" fmla="*/ 257442 h 257442"/>
              <a:gd name="connsiteX2" fmla="*/ 0 w 2106566"/>
              <a:gd name="connsiteY2" fmla="*/ 257442 h 257442"/>
              <a:gd name="connsiteX3" fmla="*/ 54721 w 2106566"/>
              <a:gd name="connsiteY3" fmla="*/ 0 h 257442"/>
              <a:gd name="connsiteX0" fmla="*/ 2106566 w 2106566"/>
              <a:gd name="connsiteY0" fmla="*/ 0 h 257442"/>
              <a:gd name="connsiteX1" fmla="*/ 2051845 w 2106566"/>
              <a:gd name="connsiteY1" fmla="*/ 257442 h 257442"/>
              <a:gd name="connsiteX2" fmla="*/ 0 w 2106566"/>
              <a:gd name="connsiteY2" fmla="*/ 257442 h 257442"/>
              <a:gd name="connsiteX3" fmla="*/ 54721 w 2106566"/>
              <a:gd name="connsiteY3" fmla="*/ 0 h 257442"/>
              <a:gd name="connsiteX0" fmla="*/ 1946265 w 2051845"/>
              <a:gd name="connsiteY0" fmla="*/ 0 h 257442"/>
              <a:gd name="connsiteX1" fmla="*/ 2051845 w 2051845"/>
              <a:gd name="connsiteY1" fmla="*/ 257442 h 257442"/>
              <a:gd name="connsiteX2" fmla="*/ 0 w 2051845"/>
              <a:gd name="connsiteY2" fmla="*/ 257442 h 257442"/>
              <a:gd name="connsiteX3" fmla="*/ 54721 w 2051845"/>
              <a:gd name="connsiteY3" fmla="*/ 0 h 257442"/>
              <a:gd name="connsiteX0" fmla="*/ 1946265 w 1946265"/>
              <a:gd name="connsiteY0" fmla="*/ 0 h 257442"/>
              <a:gd name="connsiteX1" fmla="*/ 1891545 w 1946265"/>
              <a:gd name="connsiteY1" fmla="*/ 257442 h 257442"/>
              <a:gd name="connsiteX2" fmla="*/ 0 w 1946265"/>
              <a:gd name="connsiteY2" fmla="*/ 257442 h 257442"/>
              <a:gd name="connsiteX3" fmla="*/ 54721 w 1946265"/>
              <a:gd name="connsiteY3" fmla="*/ 0 h 257442"/>
              <a:gd name="connsiteX0" fmla="*/ 1946264 w 1946264"/>
              <a:gd name="connsiteY0" fmla="*/ 0 h 257442"/>
              <a:gd name="connsiteX1" fmla="*/ 1891544 w 1946264"/>
              <a:gd name="connsiteY1" fmla="*/ 257442 h 257442"/>
              <a:gd name="connsiteX2" fmla="*/ 0 w 1946264"/>
              <a:gd name="connsiteY2" fmla="*/ 257442 h 257442"/>
              <a:gd name="connsiteX3" fmla="*/ 54720 w 1946264"/>
              <a:gd name="connsiteY3" fmla="*/ 0 h 257442"/>
              <a:gd name="connsiteX0" fmla="*/ 1946264 w 1946264"/>
              <a:gd name="connsiteY0" fmla="*/ 0 h 257442"/>
              <a:gd name="connsiteX1" fmla="*/ 1891544 w 1946264"/>
              <a:gd name="connsiteY1" fmla="*/ 257442 h 257442"/>
              <a:gd name="connsiteX2" fmla="*/ 0 w 1946264"/>
              <a:gd name="connsiteY2" fmla="*/ 257442 h 257442"/>
              <a:gd name="connsiteX3" fmla="*/ 54720 w 1946264"/>
              <a:gd name="connsiteY3" fmla="*/ 0 h 257442"/>
              <a:gd name="connsiteX0" fmla="*/ 2114580 w 2114580"/>
              <a:gd name="connsiteY0" fmla="*/ 0 h 257442"/>
              <a:gd name="connsiteX1" fmla="*/ 1891544 w 2114580"/>
              <a:gd name="connsiteY1" fmla="*/ 257442 h 257442"/>
              <a:gd name="connsiteX2" fmla="*/ 0 w 2114580"/>
              <a:gd name="connsiteY2" fmla="*/ 257442 h 257442"/>
              <a:gd name="connsiteX3" fmla="*/ 54720 w 2114580"/>
              <a:gd name="connsiteY3" fmla="*/ 0 h 257442"/>
              <a:gd name="connsiteX0" fmla="*/ 2114580 w 2114580"/>
              <a:gd name="connsiteY0" fmla="*/ 0 h 257442"/>
              <a:gd name="connsiteX1" fmla="*/ 2059859 w 2114580"/>
              <a:gd name="connsiteY1" fmla="*/ 257442 h 257442"/>
              <a:gd name="connsiteX2" fmla="*/ 0 w 2114580"/>
              <a:gd name="connsiteY2" fmla="*/ 257442 h 257442"/>
              <a:gd name="connsiteX3" fmla="*/ 54720 w 2114580"/>
              <a:gd name="connsiteY3" fmla="*/ 0 h 257442"/>
              <a:gd name="connsiteX0" fmla="*/ 2114581 w 2114581"/>
              <a:gd name="connsiteY0" fmla="*/ 0 h 257442"/>
              <a:gd name="connsiteX1" fmla="*/ 2059860 w 2114581"/>
              <a:gd name="connsiteY1" fmla="*/ 257442 h 257442"/>
              <a:gd name="connsiteX2" fmla="*/ 0 w 2114581"/>
              <a:gd name="connsiteY2" fmla="*/ 257442 h 257442"/>
              <a:gd name="connsiteX3" fmla="*/ 54721 w 2114581"/>
              <a:gd name="connsiteY3" fmla="*/ 0 h 257442"/>
              <a:gd name="connsiteX0" fmla="*/ 2114581 w 2114581"/>
              <a:gd name="connsiteY0" fmla="*/ 0 h 257442"/>
              <a:gd name="connsiteX1" fmla="*/ 2059860 w 2114581"/>
              <a:gd name="connsiteY1" fmla="*/ 257442 h 257442"/>
              <a:gd name="connsiteX2" fmla="*/ 0 w 2114581"/>
              <a:gd name="connsiteY2" fmla="*/ 257442 h 257442"/>
              <a:gd name="connsiteX3" fmla="*/ 54722 w 2114581"/>
              <a:gd name="connsiteY3" fmla="*/ 0 h 257442"/>
              <a:gd name="connsiteX0" fmla="*/ 2274883 w 2274883"/>
              <a:gd name="connsiteY0" fmla="*/ 0 h 257442"/>
              <a:gd name="connsiteX1" fmla="*/ 2059860 w 2274883"/>
              <a:gd name="connsiteY1" fmla="*/ 257442 h 257442"/>
              <a:gd name="connsiteX2" fmla="*/ 0 w 2274883"/>
              <a:gd name="connsiteY2" fmla="*/ 257442 h 257442"/>
              <a:gd name="connsiteX3" fmla="*/ 54722 w 2274883"/>
              <a:gd name="connsiteY3" fmla="*/ 0 h 257442"/>
              <a:gd name="connsiteX0" fmla="*/ 2274883 w 2274883"/>
              <a:gd name="connsiteY0" fmla="*/ 0 h 257442"/>
              <a:gd name="connsiteX1" fmla="*/ 2220162 w 2274883"/>
              <a:gd name="connsiteY1" fmla="*/ 257442 h 257442"/>
              <a:gd name="connsiteX2" fmla="*/ 0 w 2274883"/>
              <a:gd name="connsiteY2" fmla="*/ 257442 h 257442"/>
              <a:gd name="connsiteX3" fmla="*/ 54722 w 2274883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1 w 2274882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0 w 2274882"/>
              <a:gd name="connsiteY3" fmla="*/ 0 h 257442"/>
              <a:gd name="connsiteX0" fmla="*/ 2579451 w 2579451"/>
              <a:gd name="connsiteY0" fmla="*/ 0 h 257442"/>
              <a:gd name="connsiteX1" fmla="*/ 2220161 w 2579451"/>
              <a:gd name="connsiteY1" fmla="*/ 257442 h 257442"/>
              <a:gd name="connsiteX2" fmla="*/ 0 w 2579451"/>
              <a:gd name="connsiteY2" fmla="*/ 257442 h 257442"/>
              <a:gd name="connsiteX3" fmla="*/ 54720 w 2579451"/>
              <a:gd name="connsiteY3" fmla="*/ 0 h 257442"/>
              <a:gd name="connsiteX0" fmla="*/ 2579451 w 2579451"/>
              <a:gd name="connsiteY0" fmla="*/ 0 h 257442"/>
              <a:gd name="connsiteX1" fmla="*/ 2524730 w 2579451"/>
              <a:gd name="connsiteY1" fmla="*/ 257442 h 257442"/>
              <a:gd name="connsiteX2" fmla="*/ 0 w 2579451"/>
              <a:gd name="connsiteY2" fmla="*/ 257442 h 257442"/>
              <a:gd name="connsiteX3" fmla="*/ 54720 w 2579451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772967 w 2772967"/>
              <a:gd name="connsiteY0" fmla="*/ 0 h 257442"/>
              <a:gd name="connsiteX1" fmla="*/ 2524731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772967 w 2772967"/>
              <a:gd name="connsiteY0" fmla="*/ 0 h 257442"/>
              <a:gd name="connsiteX1" fmla="*/ 2718246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772967 w 2772967"/>
              <a:gd name="connsiteY0" fmla="*/ 0 h 257442"/>
              <a:gd name="connsiteX1" fmla="*/ 2718246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772967 w 2772967"/>
              <a:gd name="connsiteY0" fmla="*/ 0 h 257442"/>
              <a:gd name="connsiteX1" fmla="*/ 2718246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958915 w 2958915"/>
              <a:gd name="connsiteY0" fmla="*/ 0 h 257442"/>
              <a:gd name="connsiteX1" fmla="*/ 2718246 w 2958915"/>
              <a:gd name="connsiteY1" fmla="*/ 257442 h 257442"/>
              <a:gd name="connsiteX2" fmla="*/ 0 w 2958915"/>
              <a:gd name="connsiteY2" fmla="*/ 257442 h 257442"/>
              <a:gd name="connsiteX3" fmla="*/ 54721 w 2958915"/>
              <a:gd name="connsiteY3" fmla="*/ 0 h 257442"/>
              <a:gd name="connsiteX0" fmla="*/ 2958915 w 2958915"/>
              <a:gd name="connsiteY0" fmla="*/ 0 h 257442"/>
              <a:gd name="connsiteX1" fmla="*/ 2904194 w 2958915"/>
              <a:gd name="connsiteY1" fmla="*/ 257442 h 257442"/>
              <a:gd name="connsiteX2" fmla="*/ 0 w 2958915"/>
              <a:gd name="connsiteY2" fmla="*/ 257442 h 257442"/>
              <a:gd name="connsiteX3" fmla="*/ 54721 w 2958915"/>
              <a:gd name="connsiteY3" fmla="*/ 0 h 257442"/>
              <a:gd name="connsiteX0" fmla="*/ 2958915 w 2958915"/>
              <a:gd name="connsiteY0" fmla="*/ 0 h 257442"/>
              <a:gd name="connsiteX1" fmla="*/ 2904194 w 2958915"/>
              <a:gd name="connsiteY1" fmla="*/ 257442 h 257442"/>
              <a:gd name="connsiteX2" fmla="*/ 0 w 2958915"/>
              <a:gd name="connsiteY2" fmla="*/ 257442 h 257442"/>
              <a:gd name="connsiteX3" fmla="*/ 54721 w 2958915"/>
              <a:gd name="connsiteY3" fmla="*/ 0 h 257442"/>
              <a:gd name="connsiteX0" fmla="*/ 2958915 w 2958915"/>
              <a:gd name="connsiteY0" fmla="*/ 0 h 257442"/>
              <a:gd name="connsiteX1" fmla="*/ 2904194 w 2958915"/>
              <a:gd name="connsiteY1" fmla="*/ 257442 h 257442"/>
              <a:gd name="connsiteX2" fmla="*/ 0 w 2958915"/>
              <a:gd name="connsiteY2" fmla="*/ 257442 h 257442"/>
              <a:gd name="connsiteX3" fmla="*/ 54721 w 2958915"/>
              <a:gd name="connsiteY3" fmla="*/ 0 h 257442"/>
              <a:gd name="connsiteX0" fmla="*/ 3144863 w 3144863"/>
              <a:gd name="connsiteY0" fmla="*/ 0 h 257442"/>
              <a:gd name="connsiteX1" fmla="*/ 2904194 w 3144863"/>
              <a:gd name="connsiteY1" fmla="*/ 257442 h 257442"/>
              <a:gd name="connsiteX2" fmla="*/ 0 w 3144863"/>
              <a:gd name="connsiteY2" fmla="*/ 257442 h 257442"/>
              <a:gd name="connsiteX3" fmla="*/ 54721 w 3144863"/>
              <a:gd name="connsiteY3" fmla="*/ 0 h 257442"/>
              <a:gd name="connsiteX0" fmla="*/ 3144863 w 3144863"/>
              <a:gd name="connsiteY0" fmla="*/ 0 h 257442"/>
              <a:gd name="connsiteX1" fmla="*/ 3090142 w 3144863"/>
              <a:gd name="connsiteY1" fmla="*/ 257442 h 257442"/>
              <a:gd name="connsiteX2" fmla="*/ 0 w 3144863"/>
              <a:gd name="connsiteY2" fmla="*/ 257442 h 257442"/>
              <a:gd name="connsiteX3" fmla="*/ 54721 w 3144863"/>
              <a:gd name="connsiteY3" fmla="*/ 0 h 257442"/>
              <a:gd name="connsiteX0" fmla="*/ 3144863 w 3144863"/>
              <a:gd name="connsiteY0" fmla="*/ 0 h 257442"/>
              <a:gd name="connsiteX1" fmla="*/ 3090142 w 3144863"/>
              <a:gd name="connsiteY1" fmla="*/ 257442 h 257442"/>
              <a:gd name="connsiteX2" fmla="*/ 0 w 3144863"/>
              <a:gd name="connsiteY2" fmla="*/ 257442 h 257442"/>
              <a:gd name="connsiteX3" fmla="*/ 54721 w 3144863"/>
              <a:gd name="connsiteY3" fmla="*/ 0 h 257442"/>
              <a:gd name="connsiteX0" fmla="*/ 3144863 w 3144863"/>
              <a:gd name="connsiteY0" fmla="*/ 0 h 257442"/>
              <a:gd name="connsiteX1" fmla="*/ 3090142 w 3144863"/>
              <a:gd name="connsiteY1" fmla="*/ 257442 h 257442"/>
              <a:gd name="connsiteX2" fmla="*/ 0 w 3144863"/>
              <a:gd name="connsiteY2" fmla="*/ 257442 h 257442"/>
              <a:gd name="connsiteX3" fmla="*/ 54721 w 3144863"/>
              <a:gd name="connsiteY3" fmla="*/ 0 h 257442"/>
              <a:gd name="connsiteX0" fmla="*/ 3313178 w 3313178"/>
              <a:gd name="connsiteY0" fmla="*/ 0 h 257442"/>
              <a:gd name="connsiteX1" fmla="*/ 3090142 w 3313178"/>
              <a:gd name="connsiteY1" fmla="*/ 257442 h 257442"/>
              <a:gd name="connsiteX2" fmla="*/ 0 w 3313178"/>
              <a:gd name="connsiteY2" fmla="*/ 257442 h 257442"/>
              <a:gd name="connsiteX3" fmla="*/ 54721 w 3313178"/>
              <a:gd name="connsiteY3" fmla="*/ 0 h 257442"/>
              <a:gd name="connsiteX0" fmla="*/ 3313178 w 3313178"/>
              <a:gd name="connsiteY0" fmla="*/ 0 h 257442"/>
              <a:gd name="connsiteX1" fmla="*/ 3258456 w 3313178"/>
              <a:gd name="connsiteY1" fmla="*/ 257442 h 257442"/>
              <a:gd name="connsiteX2" fmla="*/ 0 w 3313178"/>
              <a:gd name="connsiteY2" fmla="*/ 257442 h 257442"/>
              <a:gd name="connsiteX3" fmla="*/ 54721 w 3313178"/>
              <a:gd name="connsiteY3" fmla="*/ 0 h 257442"/>
              <a:gd name="connsiteX0" fmla="*/ 3313179 w 3313179"/>
              <a:gd name="connsiteY0" fmla="*/ 0 h 257442"/>
              <a:gd name="connsiteX1" fmla="*/ 3258457 w 3313179"/>
              <a:gd name="connsiteY1" fmla="*/ 257442 h 257442"/>
              <a:gd name="connsiteX2" fmla="*/ 0 w 3313179"/>
              <a:gd name="connsiteY2" fmla="*/ 257442 h 257442"/>
              <a:gd name="connsiteX3" fmla="*/ 54722 w 3313179"/>
              <a:gd name="connsiteY3" fmla="*/ 0 h 257442"/>
              <a:gd name="connsiteX0" fmla="*/ 3313179 w 3313179"/>
              <a:gd name="connsiteY0" fmla="*/ 0 h 257442"/>
              <a:gd name="connsiteX1" fmla="*/ 3258457 w 3313179"/>
              <a:gd name="connsiteY1" fmla="*/ 257442 h 257442"/>
              <a:gd name="connsiteX2" fmla="*/ 0 w 3313179"/>
              <a:gd name="connsiteY2" fmla="*/ 257442 h 257442"/>
              <a:gd name="connsiteX3" fmla="*/ 54722 w 3313179"/>
              <a:gd name="connsiteY3" fmla="*/ 0 h 257442"/>
              <a:gd name="connsiteX0" fmla="*/ 3622365 w 3622365"/>
              <a:gd name="connsiteY0" fmla="*/ 0 h 257442"/>
              <a:gd name="connsiteX1" fmla="*/ 3258457 w 3622365"/>
              <a:gd name="connsiteY1" fmla="*/ 257442 h 257442"/>
              <a:gd name="connsiteX2" fmla="*/ 0 w 3622365"/>
              <a:gd name="connsiteY2" fmla="*/ 257442 h 257442"/>
              <a:gd name="connsiteX3" fmla="*/ 54722 w 3622365"/>
              <a:gd name="connsiteY3" fmla="*/ 0 h 257442"/>
              <a:gd name="connsiteX0" fmla="*/ 3622365 w 3622365"/>
              <a:gd name="connsiteY0" fmla="*/ 0 h 257442"/>
              <a:gd name="connsiteX1" fmla="*/ 3567645 w 3622365"/>
              <a:gd name="connsiteY1" fmla="*/ 257442 h 257442"/>
              <a:gd name="connsiteX2" fmla="*/ 0 w 3622365"/>
              <a:gd name="connsiteY2" fmla="*/ 257442 h 257442"/>
              <a:gd name="connsiteX3" fmla="*/ 54722 w 3622365"/>
              <a:gd name="connsiteY3" fmla="*/ 0 h 257442"/>
              <a:gd name="connsiteX0" fmla="*/ 3622364 w 3622364"/>
              <a:gd name="connsiteY0" fmla="*/ 0 h 257442"/>
              <a:gd name="connsiteX1" fmla="*/ 3567644 w 3622364"/>
              <a:gd name="connsiteY1" fmla="*/ 257442 h 257442"/>
              <a:gd name="connsiteX2" fmla="*/ 0 w 3622364"/>
              <a:gd name="connsiteY2" fmla="*/ 257442 h 257442"/>
              <a:gd name="connsiteX3" fmla="*/ 54721 w 3622364"/>
              <a:gd name="connsiteY3" fmla="*/ 0 h 257442"/>
              <a:gd name="connsiteX0" fmla="*/ 3622364 w 3622364"/>
              <a:gd name="connsiteY0" fmla="*/ 0 h 257442"/>
              <a:gd name="connsiteX1" fmla="*/ 3567644 w 3622364"/>
              <a:gd name="connsiteY1" fmla="*/ 257442 h 257442"/>
              <a:gd name="connsiteX2" fmla="*/ 0 w 3622364"/>
              <a:gd name="connsiteY2" fmla="*/ 257442 h 257442"/>
              <a:gd name="connsiteX3" fmla="*/ 54720 w 3622364"/>
              <a:gd name="connsiteY3" fmla="*/ 0 h 257442"/>
              <a:gd name="connsiteX0" fmla="*/ 3891669 w 3891669"/>
              <a:gd name="connsiteY0" fmla="*/ 0 h 257442"/>
              <a:gd name="connsiteX1" fmla="*/ 3567644 w 3891669"/>
              <a:gd name="connsiteY1" fmla="*/ 257442 h 257442"/>
              <a:gd name="connsiteX2" fmla="*/ 0 w 3891669"/>
              <a:gd name="connsiteY2" fmla="*/ 257442 h 257442"/>
              <a:gd name="connsiteX3" fmla="*/ 54720 w 3891669"/>
              <a:gd name="connsiteY3" fmla="*/ 0 h 257442"/>
              <a:gd name="connsiteX0" fmla="*/ 3891669 w 3891669"/>
              <a:gd name="connsiteY0" fmla="*/ 0 h 257442"/>
              <a:gd name="connsiteX1" fmla="*/ 3836949 w 3891669"/>
              <a:gd name="connsiteY1" fmla="*/ 257442 h 257442"/>
              <a:gd name="connsiteX2" fmla="*/ 0 w 3891669"/>
              <a:gd name="connsiteY2" fmla="*/ 257442 h 257442"/>
              <a:gd name="connsiteX3" fmla="*/ 54720 w 3891669"/>
              <a:gd name="connsiteY3" fmla="*/ 0 h 257442"/>
              <a:gd name="connsiteX0" fmla="*/ 3891670 w 3891670"/>
              <a:gd name="connsiteY0" fmla="*/ 0 h 257442"/>
              <a:gd name="connsiteX1" fmla="*/ 3836950 w 3891670"/>
              <a:gd name="connsiteY1" fmla="*/ 257442 h 257442"/>
              <a:gd name="connsiteX2" fmla="*/ 0 w 3891670"/>
              <a:gd name="connsiteY2" fmla="*/ 257442 h 257442"/>
              <a:gd name="connsiteX3" fmla="*/ 54721 w 3891670"/>
              <a:gd name="connsiteY3" fmla="*/ 0 h 257442"/>
              <a:gd name="connsiteX0" fmla="*/ 3891670 w 3891670"/>
              <a:gd name="connsiteY0" fmla="*/ 0 h 257442"/>
              <a:gd name="connsiteX1" fmla="*/ 3836950 w 3891670"/>
              <a:gd name="connsiteY1" fmla="*/ 257442 h 257442"/>
              <a:gd name="connsiteX2" fmla="*/ 0 w 3891670"/>
              <a:gd name="connsiteY2" fmla="*/ 257442 h 257442"/>
              <a:gd name="connsiteX3" fmla="*/ 54721 w 3891670"/>
              <a:gd name="connsiteY3" fmla="*/ 0 h 257442"/>
              <a:gd name="connsiteX0" fmla="*/ 4069604 w 4069604"/>
              <a:gd name="connsiteY0" fmla="*/ 0 h 257442"/>
              <a:gd name="connsiteX1" fmla="*/ 3836950 w 4069604"/>
              <a:gd name="connsiteY1" fmla="*/ 257442 h 257442"/>
              <a:gd name="connsiteX2" fmla="*/ 0 w 4069604"/>
              <a:gd name="connsiteY2" fmla="*/ 257442 h 257442"/>
              <a:gd name="connsiteX3" fmla="*/ 54721 w 4069604"/>
              <a:gd name="connsiteY3" fmla="*/ 0 h 257442"/>
              <a:gd name="connsiteX0" fmla="*/ 4069604 w 4069604"/>
              <a:gd name="connsiteY0" fmla="*/ 0 h 257442"/>
              <a:gd name="connsiteX1" fmla="*/ 4014883 w 4069604"/>
              <a:gd name="connsiteY1" fmla="*/ 257442 h 257442"/>
              <a:gd name="connsiteX2" fmla="*/ 0 w 4069604"/>
              <a:gd name="connsiteY2" fmla="*/ 257442 h 257442"/>
              <a:gd name="connsiteX3" fmla="*/ 54721 w 4069604"/>
              <a:gd name="connsiteY3" fmla="*/ 0 h 257442"/>
              <a:gd name="connsiteX0" fmla="*/ 4069604 w 4069604"/>
              <a:gd name="connsiteY0" fmla="*/ 0 h 257442"/>
              <a:gd name="connsiteX1" fmla="*/ 4014883 w 4069604"/>
              <a:gd name="connsiteY1" fmla="*/ 257442 h 257442"/>
              <a:gd name="connsiteX2" fmla="*/ 0 w 4069604"/>
              <a:gd name="connsiteY2" fmla="*/ 257442 h 257442"/>
              <a:gd name="connsiteX3" fmla="*/ 54721 w 4069604"/>
              <a:gd name="connsiteY3" fmla="*/ 0 h 257442"/>
              <a:gd name="connsiteX0" fmla="*/ 4069604 w 4069604"/>
              <a:gd name="connsiteY0" fmla="*/ 0 h 257442"/>
              <a:gd name="connsiteX1" fmla="*/ 4014883 w 4069604"/>
              <a:gd name="connsiteY1" fmla="*/ 257442 h 257442"/>
              <a:gd name="connsiteX2" fmla="*/ 0 w 4069604"/>
              <a:gd name="connsiteY2" fmla="*/ 257442 h 257442"/>
              <a:gd name="connsiteX3" fmla="*/ 54721 w 4069604"/>
              <a:gd name="connsiteY3" fmla="*/ 0 h 257442"/>
              <a:gd name="connsiteX0" fmla="*/ 4390204 w 4390204"/>
              <a:gd name="connsiteY0" fmla="*/ 0 h 257442"/>
              <a:gd name="connsiteX1" fmla="*/ 4014883 w 4390204"/>
              <a:gd name="connsiteY1" fmla="*/ 257442 h 257442"/>
              <a:gd name="connsiteX2" fmla="*/ 0 w 4390204"/>
              <a:gd name="connsiteY2" fmla="*/ 257442 h 257442"/>
              <a:gd name="connsiteX3" fmla="*/ 54721 w 4390204"/>
              <a:gd name="connsiteY3" fmla="*/ 0 h 257442"/>
              <a:gd name="connsiteX0" fmla="*/ 4390204 w 4390204"/>
              <a:gd name="connsiteY0" fmla="*/ 0 h 257442"/>
              <a:gd name="connsiteX1" fmla="*/ 4335483 w 4390204"/>
              <a:gd name="connsiteY1" fmla="*/ 257442 h 257442"/>
              <a:gd name="connsiteX2" fmla="*/ 0 w 4390204"/>
              <a:gd name="connsiteY2" fmla="*/ 257442 h 257442"/>
              <a:gd name="connsiteX3" fmla="*/ 54721 w 4390204"/>
              <a:gd name="connsiteY3" fmla="*/ 0 h 257442"/>
              <a:gd name="connsiteX0" fmla="*/ 4390204 w 4390204"/>
              <a:gd name="connsiteY0" fmla="*/ 0 h 257442"/>
              <a:gd name="connsiteX1" fmla="*/ 4335483 w 4390204"/>
              <a:gd name="connsiteY1" fmla="*/ 257442 h 257442"/>
              <a:gd name="connsiteX2" fmla="*/ 0 w 4390204"/>
              <a:gd name="connsiteY2" fmla="*/ 257442 h 257442"/>
              <a:gd name="connsiteX3" fmla="*/ 54721 w 4390204"/>
              <a:gd name="connsiteY3" fmla="*/ 0 h 257442"/>
              <a:gd name="connsiteX0" fmla="*/ 4390204 w 4390204"/>
              <a:gd name="connsiteY0" fmla="*/ 0 h 257442"/>
              <a:gd name="connsiteX1" fmla="*/ 4335483 w 4390204"/>
              <a:gd name="connsiteY1" fmla="*/ 257442 h 257442"/>
              <a:gd name="connsiteX2" fmla="*/ 0 w 4390204"/>
              <a:gd name="connsiteY2" fmla="*/ 257442 h 257442"/>
              <a:gd name="connsiteX3" fmla="*/ 54721 w 4390204"/>
              <a:gd name="connsiteY3" fmla="*/ 0 h 257442"/>
              <a:gd name="connsiteX0" fmla="*/ 4643479 w 4643479"/>
              <a:gd name="connsiteY0" fmla="*/ 0 h 257442"/>
              <a:gd name="connsiteX1" fmla="*/ 4335483 w 4643479"/>
              <a:gd name="connsiteY1" fmla="*/ 257442 h 257442"/>
              <a:gd name="connsiteX2" fmla="*/ 0 w 4643479"/>
              <a:gd name="connsiteY2" fmla="*/ 257442 h 257442"/>
              <a:gd name="connsiteX3" fmla="*/ 54721 w 4643479"/>
              <a:gd name="connsiteY3" fmla="*/ 0 h 257442"/>
              <a:gd name="connsiteX0" fmla="*/ 4643479 w 4643479"/>
              <a:gd name="connsiteY0" fmla="*/ 0 h 257442"/>
              <a:gd name="connsiteX1" fmla="*/ 4588758 w 4643479"/>
              <a:gd name="connsiteY1" fmla="*/ 257442 h 257442"/>
              <a:gd name="connsiteX2" fmla="*/ 0 w 4643479"/>
              <a:gd name="connsiteY2" fmla="*/ 257442 h 257442"/>
              <a:gd name="connsiteX3" fmla="*/ 54721 w 4643479"/>
              <a:gd name="connsiteY3" fmla="*/ 0 h 257442"/>
              <a:gd name="connsiteX0" fmla="*/ 4643479 w 4643479"/>
              <a:gd name="connsiteY0" fmla="*/ 0 h 257442"/>
              <a:gd name="connsiteX1" fmla="*/ 4588758 w 4643479"/>
              <a:gd name="connsiteY1" fmla="*/ 257442 h 257442"/>
              <a:gd name="connsiteX2" fmla="*/ 0 w 4643479"/>
              <a:gd name="connsiteY2" fmla="*/ 257442 h 257442"/>
              <a:gd name="connsiteX3" fmla="*/ 54721 w 4643479"/>
              <a:gd name="connsiteY3" fmla="*/ 0 h 257442"/>
              <a:gd name="connsiteX0" fmla="*/ 4643479 w 4643479"/>
              <a:gd name="connsiteY0" fmla="*/ 0 h 257442"/>
              <a:gd name="connsiteX1" fmla="*/ 4588758 w 4643479"/>
              <a:gd name="connsiteY1" fmla="*/ 257442 h 257442"/>
              <a:gd name="connsiteX2" fmla="*/ 0 w 4643479"/>
              <a:gd name="connsiteY2" fmla="*/ 257442 h 257442"/>
              <a:gd name="connsiteX3" fmla="*/ 54721 w 4643479"/>
              <a:gd name="connsiteY3" fmla="*/ 0 h 257442"/>
              <a:gd name="connsiteX0" fmla="*/ 4821412 w 4821412"/>
              <a:gd name="connsiteY0" fmla="*/ 0 h 257442"/>
              <a:gd name="connsiteX1" fmla="*/ 4588758 w 4821412"/>
              <a:gd name="connsiteY1" fmla="*/ 257442 h 257442"/>
              <a:gd name="connsiteX2" fmla="*/ 0 w 4821412"/>
              <a:gd name="connsiteY2" fmla="*/ 257442 h 257442"/>
              <a:gd name="connsiteX3" fmla="*/ 54721 w 4821412"/>
              <a:gd name="connsiteY3" fmla="*/ 0 h 257442"/>
              <a:gd name="connsiteX0" fmla="*/ 4821412 w 4821412"/>
              <a:gd name="connsiteY0" fmla="*/ 0 h 257442"/>
              <a:gd name="connsiteX1" fmla="*/ 4766690 w 4821412"/>
              <a:gd name="connsiteY1" fmla="*/ 257442 h 257442"/>
              <a:gd name="connsiteX2" fmla="*/ 0 w 4821412"/>
              <a:gd name="connsiteY2" fmla="*/ 257442 h 257442"/>
              <a:gd name="connsiteX3" fmla="*/ 54721 w 4821412"/>
              <a:gd name="connsiteY3" fmla="*/ 0 h 257442"/>
              <a:gd name="connsiteX0" fmla="*/ 4821413 w 4821413"/>
              <a:gd name="connsiteY0" fmla="*/ 0 h 257442"/>
              <a:gd name="connsiteX1" fmla="*/ 4766691 w 4821413"/>
              <a:gd name="connsiteY1" fmla="*/ 257442 h 257442"/>
              <a:gd name="connsiteX2" fmla="*/ 0 w 4821413"/>
              <a:gd name="connsiteY2" fmla="*/ 257442 h 257442"/>
              <a:gd name="connsiteX3" fmla="*/ 54722 w 4821413"/>
              <a:gd name="connsiteY3" fmla="*/ 0 h 257442"/>
              <a:gd name="connsiteX0" fmla="*/ 4821413 w 4821413"/>
              <a:gd name="connsiteY0" fmla="*/ 0 h 257442"/>
              <a:gd name="connsiteX1" fmla="*/ 4766691 w 4821413"/>
              <a:gd name="connsiteY1" fmla="*/ 257442 h 257442"/>
              <a:gd name="connsiteX2" fmla="*/ 0 w 4821413"/>
              <a:gd name="connsiteY2" fmla="*/ 257442 h 257442"/>
              <a:gd name="connsiteX3" fmla="*/ 54722 w 4821413"/>
              <a:gd name="connsiteY3" fmla="*/ 0 h 257442"/>
              <a:gd name="connsiteX0" fmla="*/ 4989728 w 4989728"/>
              <a:gd name="connsiteY0" fmla="*/ 0 h 257442"/>
              <a:gd name="connsiteX1" fmla="*/ 4766691 w 4989728"/>
              <a:gd name="connsiteY1" fmla="*/ 257442 h 257442"/>
              <a:gd name="connsiteX2" fmla="*/ 0 w 4989728"/>
              <a:gd name="connsiteY2" fmla="*/ 257442 h 257442"/>
              <a:gd name="connsiteX3" fmla="*/ 54722 w 4989728"/>
              <a:gd name="connsiteY3" fmla="*/ 0 h 257442"/>
              <a:gd name="connsiteX0" fmla="*/ 4989728 w 4989728"/>
              <a:gd name="connsiteY0" fmla="*/ 0 h 257442"/>
              <a:gd name="connsiteX1" fmla="*/ 4935007 w 4989728"/>
              <a:gd name="connsiteY1" fmla="*/ 257442 h 257442"/>
              <a:gd name="connsiteX2" fmla="*/ 0 w 4989728"/>
              <a:gd name="connsiteY2" fmla="*/ 257442 h 257442"/>
              <a:gd name="connsiteX3" fmla="*/ 54722 w 4989728"/>
              <a:gd name="connsiteY3" fmla="*/ 0 h 257442"/>
              <a:gd name="connsiteX0" fmla="*/ 4989728 w 4989728"/>
              <a:gd name="connsiteY0" fmla="*/ 0 h 257442"/>
              <a:gd name="connsiteX1" fmla="*/ 4935007 w 4989728"/>
              <a:gd name="connsiteY1" fmla="*/ 257442 h 257442"/>
              <a:gd name="connsiteX2" fmla="*/ 0 w 4989728"/>
              <a:gd name="connsiteY2" fmla="*/ 257442 h 257442"/>
              <a:gd name="connsiteX3" fmla="*/ 54722 w 4989728"/>
              <a:gd name="connsiteY3" fmla="*/ 0 h 257442"/>
              <a:gd name="connsiteX0" fmla="*/ 4989728 w 4989728"/>
              <a:gd name="connsiteY0" fmla="*/ 0 h 257442"/>
              <a:gd name="connsiteX1" fmla="*/ 4935007 w 4989728"/>
              <a:gd name="connsiteY1" fmla="*/ 257442 h 257442"/>
              <a:gd name="connsiteX2" fmla="*/ 0 w 4989728"/>
              <a:gd name="connsiteY2" fmla="*/ 257442 h 257442"/>
              <a:gd name="connsiteX3" fmla="*/ 54721 w 4989728"/>
              <a:gd name="connsiteY3" fmla="*/ 0 h 257442"/>
              <a:gd name="connsiteX0" fmla="*/ 5150028 w 5150028"/>
              <a:gd name="connsiteY0" fmla="*/ 0 h 257442"/>
              <a:gd name="connsiteX1" fmla="*/ 4935007 w 5150028"/>
              <a:gd name="connsiteY1" fmla="*/ 257442 h 257442"/>
              <a:gd name="connsiteX2" fmla="*/ 0 w 5150028"/>
              <a:gd name="connsiteY2" fmla="*/ 257442 h 257442"/>
              <a:gd name="connsiteX3" fmla="*/ 54721 w 5150028"/>
              <a:gd name="connsiteY3" fmla="*/ 0 h 257442"/>
              <a:gd name="connsiteX0" fmla="*/ 5150028 w 5150028"/>
              <a:gd name="connsiteY0" fmla="*/ 0 h 257442"/>
              <a:gd name="connsiteX1" fmla="*/ 5095307 w 5150028"/>
              <a:gd name="connsiteY1" fmla="*/ 257442 h 257442"/>
              <a:gd name="connsiteX2" fmla="*/ 0 w 5150028"/>
              <a:gd name="connsiteY2" fmla="*/ 257442 h 257442"/>
              <a:gd name="connsiteX3" fmla="*/ 54721 w 5150028"/>
              <a:gd name="connsiteY3" fmla="*/ 0 h 257442"/>
              <a:gd name="connsiteX0" fmla="*/ 5150028 w 5150028"/>
              <a:gd name="connsiteY0" fmla="*/ 0 h 257442"/>
              <a:gd name="connsiteX1" fmla="*/ 5095307 w 5150028"/>
              <a:gd name="connsiteY1" fmla="*/ 257442 h 257442"/>
              <a:gd name="connsiteX2" fmla="*/ 0 w 5150028"/>
              <a:gd name="connsiteY2" fmla="*/ 257442 h 257442"/>
              <a:gd name="connsiteX3" fmla="*/ 54721 w 5150028"/>
              <a:gd name="connsiteY3" fmla="*/ 0 h 257442"/>
              <a:gd name="connsiteX0" fmla="*/ 5150028 w 5150028"/>
              <a:gd name="connsiteY0" fmla="*/ 0 h 257442"/>
              <a:gd name="connsiteX1" fmla="*/ 5095307 w 5150028"/>
              <a:gd name="connsiteY1" fmla="*/ 257442 h 257442"/>
              <a:gd name="connsiteX2" fmla="*/ 0 w 5150028"/>
              <a:gd name="connsiteY2" fmla="*/ 257442 h 257442"/>
              <a:gd name="connsiteX3" fmla="*/ 54721 w 5150028"/>
              <a:gd name="connsiteY3" fmla="*/ 0 h 257442"/>
              <a:gd name="connsiteX0" fmla="*/ 2114581 w 5095307"/>
              <a:gd name="connsiteY0" fmla="*/ 0 h 257442"/>
              <a:gd name="connsiteX1" fmla="*/ 5095307 w 5095307"/>
              <a:gd name="connsiteY1" fmla="*/ 257442 h 257442"/>
              <a:gd name="connsiteX2" fmla="*/ 0 w 5095307"/>
              <a:gd name="connsiteY2" fmla="*/ 257442 h 257442"/>
              <a:gd name="connsiteX3" fmla="*/ 54721 w 5095307"/>
              <a:gd name="connsiteY3" fmla="*/ 0 h 257442"/>
              <a:gd name="connsiteX0" fmla="*/ 2114581 w 2114581"/>
              <a:gd name="connsiteY0" fmla="*/ 0 h 257442"/>
              <a:gd name="connsiteX1" fmla="*/ 2059861 w 2114581"/>
              <a:gd name="connsiteY1" fmla="*/ 257442 h 257442"/>
              <a:gd name="connsiteX2" fmla="*/ 0 w 2114581"/>
              <a:gd name="connsiteY2" fmla="*/ 257442 h 257442"/>
              <a:gd name="connsiteX3" fmla="*/ 54721 w 2114581"/>
              <a:gd name="connsiteY3" fmla="*/ 0 h 257442"/>
              <a:gd name="connsiteX0" fmla="*/ 2114580 w 2114580"/>
              <a:gd name="connsiteY0" fmla="*/ 0 h 257442"/>
              <a:gd name="connsiteX1" fmla="*/ 2059860 w 2114580"/>
              <a:gd name="connsiteY1" fmla="*/ 257442 h 257442"/>
              <a:gd name="connsiteX2" fmla="*/ 0 w 2114580"/>
              <a:gd name="connsiteY2" fmla="*/ 257442 h 257442"/>
              <a:gd name="connsiteX3" fmla="*/ 54720 w 2114580"/>
              <a:gd name="connsiteY3" fmla="*/ 0 h 257442"/>
              <a:gd name="connsiteX0" fmla="*/ 2114580 w 2114580"/>
              <a:gd name="connsiteY0" fmla="*/ 0 h 257442"/>
              <a:gd name="connsiteX1" fmla="*/ 2059860 w 2114580"/>
              <a:gd name="connsiteY1" fmla="*/ 257442 h 257442"/>
              <a:gd name="connsiteX2" fmla="*/ 0 w 2114580"/>
              <a:gd name="connsiteY2" fmla="*/ 257442 h 257442"/>
              <a:gd name="connsiteX3" fmla="*/ 54720 w 2114580"/>
              <a:gd name="connsiteY3" fmla="*/ 0 h 257442"/>
              <a:gd name="connsiteX0" fmla="*/ 2274881 w 2274881"/>
              <a:gd name="connsiteY0" fmla="*/ 0 h 257442"/>
              <a:gd name="connsiteX1" fmla="*/ 2059860 w 2274881"/>
              <a:gd name="connsiteY1" fmla="*/ 257442 h 257442"/>
              <a:gd name="connsiteX2" fmla="*/ 0 w 2274881"/>
              <a:gd name="connsiteY2" fmla="*/ 257442 h 257442"/>
              <a:gd name="connsiteX3" fmla="*/ 54720 w 2274881"/>
              <a:gd name="connsiteY3" fmla="*/ 0 h 257442"/>
              <a:gd name="connsiteX0" fmla="*/ 2274881 w 2274881"/>
              <a:gd name="connsiteY0" fmla="*/ 0 h 257442"/>
              <a:gd name="connsiteX1" fmla="*/ 2220160 w 2274881"/>
              <a:gd name="connsiteY1" fmla="*/ 257442 h 257442"/>
              <a:gd name="connsiteX2" fmla="*/ 0 w 2274881"/>
              <a:gd name="connsiteY2" fmla="*/ 257442 h 257442"/>
              <a:gd name="connsiteX3" fmla="*/ 54720 w 2274881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1 w 2274882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1 w 2274882"/>
              <a:gd name="connsiteY3" fmla="*/ 0 h 257442"/>
              <a:gd name="connsiteX0" fmla="*/ 2579452 w 2579452"/>
              <a:gd name="connsiteY0" fmla="*/ 0 h 257442"/>
              <a:gd name="connsiteX1" fmla="*/ 222016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772967 w 2772967"/>
              <a:gd name="connsiteY0" fmla="*/ 0 h 257442"/>
              <a:gd name="connsiteX1" fmla="*/ 2524731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772967 w 2772967"/>
              <a:gd name="connsiteY0" fmla="*/ 0 h 257442"/>
              <a:gd name="connsiteX1" fmla="*/ 2718246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772967 w 2772967"/>
              <a:gd name="connsiteY0" fmla="*/ 0 h 257442"/>
              <a:gd name="connsiteX1" fmla="*/ 2718246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772967 w 2772967"/>
              <a:gd name="connsiteY0" fmla="*/ 0 h 257442"/>
              <a:gd name="connsiteX1" fmla="*/ 2718246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579452 w 2718246"/>
              <a:gd name="connsiteY0" fmla="*/ 0 h 257442"/>
              <a:gd name="connsiteX1" fmla="*/ 2718246 w 2718246"/>
              <a:gd name="connsiteY1" fmla="*/ 257442 h 257442"/>
              <a:gd name="connsiteX2" fmla="*/ 0 w 2718246"/>
              <a:gd name="connsiteY2" fmla="*/ 257442 h 257442"/>
              <a:gd name="connsiteX3" fmla="*/ 54721 w 2718246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427166 w 2524731"/>
              <a:gd name="connsiteY0" fmla="*/ 0 h 257442"/>
              <a:gd name="connsiteX1" fmla="*/ 2524731 w 2524731"/>
              <a:gd name="connsiteY1" fmla="*/ 257442 h 257442"/>
              <a:gd name="connsiteX2" fmla="*/ 0 w 2524731"/>
              <a:gd name="connsiteY2" fmla="*/ 257442 h 257442"/>
              <a:gd name="connsiteX3" fmla="*/ 54721 w 2524731"/>
              <a:gd name="connsiteY3" fmla="*/ 0 h 257442"/>
              <a:gd name="connsiteX0" fmla="*/ 2427166 w 2427166"/>
              <a:gd name="connsiteY0" fmla="*/ 0 h 257442"/>
              <a:gd name="connsiteX1" fmla="*/ 2372446 w 2427166"/>
              <a:gd name="connsiteY1" fmla="*/ 257442 h 257442"/>
              <a:gd name="connsiteX2" fmla="*/ 0 w 2427166"/>
              <a:gd name="connsiteY2" fmla="*/ 257442 h 257442"/>
              <a:gd name="connsiteX3" fmla="*/ 54721 w 2427166"/>
              <a:gd name="connsiteY3" fmla="*/ 0 h 257442"/>
              <a:gd name="connsiteX0" fmla="*/ 2427165 w 2427165"/>
              <a:gd name="connsiteY0" fmla="*/ 0 h 257442"/>
              <a:gd name="connsiteX1" fmla="*/ 2372445 w 2427165"/>
              <a:gd name="connsiteY1" fmla="*/ 257442 h 257442"/>
              <a:gd name="connsiteX2" fmla="*/ 0 w 2427165"/>
              <a:gd name="connsiteY2" fmla="*/ 257442 h 257442"/>
              <a:gd name="connsiteX3" fmla="*/ 54720 w 2427165"/>
              <a:gd name="connsiteY3" fmla="*/ 0 h 257442"/>
              <a:gd name="connsiteX0" fmla="*/ 2427165 w 2427165"/>
              <a:gd name="connsiteY0" fmla="*/ 0 h 257442"/>
              <a:gd name="connsiteX1" fmla="*/ 2372445 w 2427165"/>
              <a:gd name="connsiteY1" fmla="*/ 257442 h 257442"/>
              <a:gd name="connsiteX2" fmla="*/ 0 w 2427165"/>
              <a:gd name="connsiteY2" fmla="*/ 257442 h 257442"/>
              <a:gd name="connsiteX3" fmla="*/ 54721 w 2427165"/>
              <a:gd name="connsiteY3" fmla="*/ 0 h 257442"/>
              <a:gd name="connsiteX0" fmla="*/ 2274882 w 2372445"/>
              <a:gd name="connsiteY0" fmla="*/ 0 h 257442"/>
              <a:gd name="connsiteX1" fmla="*/ 2372445 w 2372445"/>
              <a:gd name="connsiteY1" fmla="*/ 257442 h 257442"/>
              <a:gd name="connsiteX2" fmla="*/ 0 w 2372445"/>
              <a:gd name="connsiteY2" fmla="*/ 257442 h 257442"/>
              <a:gd name="connsiteX3" fmla="*/ 54721 w 2372445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1 w 2274882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1 w 2274882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1 w 2274882"/>
              <a:gd name="connsiteY3" fmla="*/ 0 h 257442"/>
              <a:gd name="connsiteX0" fmla="*/ 2114581 w 2220161"/>
              <a:gd name="connsiteY0" fmla="*/ 0 h 257442"/>
              <a:gd name="connsiteX1" fmla="*/ 2220161 w 2220161"/>
              <a:gd name="connsiteY1" fmla="*/ 257442 h 257442"/>
              <a:gd name="connsiteX2" fmla="*/ 0 w 2220161"/>
              <a:gd name="connsiteY2" fmla="*/ 257442 h 257442"/>
              <a:gd name="connsiteX3" fmla="*/ 54721 w 2220161"/>
              <a:gd name="connsiteY3" fmla="*/ 0 h 257442"/>
              <a:gd name="connsiteX0" fmla="*/ 2114581 w 2114581"/>
              <a:gd name="connsiteY0" fmla="*/ 0 h 257442"/>
              <a:gd name="connsiteX1" fmla="*/ 2059861 w 2114581"/>
              <a:gd name="connsiteY1" fmla="*/ 257442 h 257442"/>
              <a:gd name="connsiteX2" fmla="*/ 0 w 2114581"/>
              <a:gd name="connsiteY2" fmla="*/ 257442 h 257442"/>
              <a:gd name="connsiteX3" fmla="*/ 54721 w 2114581"/>
              <a:gd name="connsiteY3" fmla="*/ 0 h 257442"/>
              <a:gd name="connsiteX0" fmla="*/ 2114580 w 2114580"/>
              <a:gd name="connsiteY0" fmla="*/ 0 h 257442"/>
              <a:gd name="connsiteX1" fmla="*/ 2059860 w 2114580"/>
              <a:gd name="connsiteY1" fmla="*/ 257442 h 257442"/>
              <a:gd name="connsiteX2" fmla="*/ 0 w 2114580"/>
              <a:gd name="connsiteY2" fmla="*/ 257442 h 257442"/>
              <a:gd name="connsiteX3" fmla="*/ 54720 w 2114580"/>
              <a:gd name="connsiteY3" fmla="*/ 0 h 257442"/>
              <a:gd name="connsiteX0" fmla="*/ 2114580 w 2114580"/>
              <a:gd name="connsiteY0" fmla="*/ 0 h 257442"/>
              <a:gd name="connsiteX1" fmla="*/ 2059860 w 2114580"/>
              <a:gd name="connsiteY1" fmla="*/ 257442 h 257442"/>
              <a:gd name="connsiteX2" fmla="*/ 0 w 2114580"/>
              <a:gd name="connsiteY2" fmla="*/ 257442 h 257442"/>
              <a:gd name="connsiteX3" fmla="*/ 54720 w 2114580"/>
              <a:gd name="connsiteY3" fmla="*/ 0 h 257442"/>
              <a:gd name="connsiteX0" fmla="*/ 2316559 w 2316559"/>
              <a:gd name="connsiteY0" fmla="*/ 0 h 257442"/>
              <a:gd name="connsiteX1" fmla="*/ 2059860 w 2316559"/>
              <a:gd name="connsiteY1" fmla="*/ 257442 h 257442"/>
              <a:gd name="connsiteX2" fmla="*/ 0 w 2316559"/>
              <a:gd name="connsiteY2" fmla="*/ 257442 h 257442"/>
              <a:gd name="connsiteX3" fmla="*/ 54720 w 2316559"/>
              <a:gd name="connsiteY3" fmla="*/ 0 h 257442"/>
              <a:gd name="connsiteX0" fmla="*/ 2316559 w 2316559"/>
              <a:gd name="connsiteY0" fmla="*/ 0 h 257442"/>
              <a:gd name="connsiteX1" fmla="*/ 2261838 w 2316559"/>
              <a:gd name="connsiteY1" fmla="*/ 257442 h 257442"/>
              <a:gd name="connsiteX2" fmla="*/ 0 w 2316559"/>
              <a:gd name="connsiteY2" fmla="*/ 257442 h 257442"/>
              <a:gd name="connsiteX3" fmla="*/ 54720 w 2316559"/>
              <a:gd name="connsiteY3" fmla="*/ 0 h 257442"/>
              <a:gd name="connsiteX0" fmla="*/ 2316560 w 2316560"/>
              <a:gd name="connsiteY0" fmla="*/ 0 h 257442"/>
              <a:gd name="connsiteX1" fmla="*/ 2261839 w 2316560"/>
              <a:gd name="connsiteY1" fmla="*/ 257442 h 257442"/>
              <a:gd name="connsiteX2" fmla="*/ 0 w 2316560"/>
              <a:gd name="connsiteY2" fmla="*/ 257442 h 257442"/>
              <a:gd name="connsiteX3" fmla="*/ 54721 w 2316560"/>
              <a:gd name="connsiteY3" fmla="*/ 0 h 257442"/>
              <a:gd name="connsiteX0" fmla="*/ 2316560 w 2316560"/>
              <a:gd name="connsiteY0" fmla="*/ 0 h 257442"/>
              <a:gd name="connsiteX1" fmla="*/ 2261839 w 2316560"/>
              <a:gd name="connsiteY1" fmla="*/ 257442 h 257442"/>
              <a:gd name="connsiteX2" fmla="*/ 0 w 2316560"/>
              <a:gd name="connsiteY2" fmla="*/ 257442 h 257442"/>
              <a:gd name="connsiteX3" fmla="*/ 54721 w 2316560"/>
              <a:gd name="connsiteY3" fmla="*/ 0 h 257442"/>
              <a:gd name="connsiteX0" fmla="*/ 2577849 w 2577849"/>
              <a:gd name="connsiteY0" fmla="*/ 0 h 257442"/>
              <a:gd name="connsiteX1" fmla="*/ 2261839 w 2577849"/>
              <a:gd name="connsiteY1" fmla="*/ 257442 h 257442"/>
              <a:gd name="connsiteX2" fmla="*/ 0 w 2577849"/>
              <a:gd name="connsiteY2" fmla="*/ 257442 h 257442"/>
              <a:gd name="connsiteX3" fmla="*/ 54721 w 2577849"/>
              <a:gd name="connsiteY3" fmla="*/ 0 h 257442"/>
              <a:gd name="connsiteX0" fmla="*/ 2577849 w 2577849"/>
              <a:gd name="connsiteY0" fmla="*/ 0 h 257442"/>
              <a:gd name="connsiteX1" fmla="*/ 2523128 w 2577849"/>
              <a:gd name="connsiteY1" fmla="*/ 257442 h 257442"/>
              <a:gd name="connsiteX2" fmla="*/ 0 w 2577849"/>
              <a:gd name="connsiteY2" fmla="*/ 257442 h 257442"/>
              <a:gd name="connsiteX3" fmla="*/ 54721 w 2577849"/>
              <a:gd name="connsiteY3" fmla="*/ 0 h 257442"/>
              <a:gd name="connsiteX0" fmla="*/ 2577849 w 2577849"/>
              <a:gd name="connsiteY0" fmla="*/ 0 h 257442"/>
              <a:gd name="connsiteX1" fmla="*/ 2523128 w 2577849"/>
              <a:gd name="connsiteY1" fmla="*/ 257442 h 257442"/>
              <a:gd name="connsiteX2" fmla="*/ 0 w 2577849"/>
              <a:gd name="connsiteY2" fmla="*/ 257442 h 257442"/>
              <a:gd name="connsiteX3" fmla="*/ 54721 w 2577849"/>
              <a:gd name="connsiteY3" fmla="*/ 0 h 257442"/>
              <a:gd name="connsiteX0" fmla="*/ 2577849 w 2577849"/>
              <a:gd name="connsiteY0" fmla="*/ 0 h 257442"/>
              <a:gd name="connsiteX1" fmla="*/ 2523128 w 2577849"/>
              <a:gd name="connsiteY1" fmla="*/ 257442 h 257442"/>
              <a:gd name="connsiteX2" fmla="*/ 0 w 2577849"/>
              <a:gd name="connsiteY2" fmla="*/ 257442 h 257442"/>
              <a:gd name="connsiteX3" fmla="*/ 54721 w 2577849"/>
              <a:gd name="connsiteY3" fmla="*/ 0 h 257442"/>
              <a:gd name="connsiteX0" fmla="*/ 2746164 w 2746164"/>
              <a:gd name="connsiteY0" fmla="*/ 0 h 257442"/>
              <a:gd name="connsiteX1" fmla="*/ 2523128 w 2746164"/>
              <a:gd name="connsiteY1" fmla="*/ 257442 h 257442"/>
              <a:gd name="connsiteX2" fmla="*/ 0 w 2746164"/>
              <a:gd name="connsiteY2" fmla="*/ 257442 h 257442"/>
              <a:gd name="connsiteX3" fmla="*/ 54721 w 2746164"/>
              <a:gd name="connsiteY3" fmla="*/ 0 h 257442"/>
              <a:gd name="connsiteX0" fmla="*/ 2746164 w 2746164"/>
              <a:gd name="connsiteY0" fmla="*/ 0 h 257442"/>
              <a:gd name="connsiteX1" fmla="*/ 2691442 w 2746164"/>
              <a:gd name="connsiteY1" fmla="*/ 257442 h 257442"/>
              <a:gd name="connsiteX2" fmla="*/ 0 w 2746164"/>
              <a:gd name="connsiteY2" fmla="*/ 257442 h 257442"/>
              <a:gd name="connsiteX3" fmla="*/ 54721 w 2746164"/>
              <a:gd name="connsiteY3" fmla="*/ 0 h 257442"/>
              <a:gd name="connsiteX0" fmla="*/ 2746165 w 2746165"/>
              <a:gd name="connsiteY0" fmla="*/ 0 h 257442"/>
              <a:gd name="connsiteX1" fmla="*/ 2691443 w 2746165"/>
              <a:gd name="connsiteY1" fmla="*/ 257442 h 257442"/>
              <a:gd name="connsiteX2" fmla="*/ 0 w 2746165"/>
              <a:gd name="connsiteY2" fmla="*/ 257442 h 257442"/>
              <a:gd name="connsiteX3" fmla="*/ 54722 w 2746165"/>
              <a:gd name="connsiteY3" fmla="*/ 0 h 257442"/>
              <a:gd name="connsiteX0" fmla="*/ 2746165 w 2746165"/>
              <a:gd name="connsiteY0" fmla="*/ 0 h 257442"/>
              <a:gd name="connsiteX1" fmla="*/ 2691443 w 2746165"/>
              <a:gd name="connsiteY1" fmla="*/ 257442 h 257442"/>
              <a:gd name="connsiteX2" fmla="*/ 0 w 2746165"/>
              <a:gd name="connsiteY2" fmla="*/ 257442 h 257442"/>
              <a:gd name="connsiteX3" fmla="*/ 54722 w 2746165"/>
              <a:gd name="connsiteY3" fmla="*/ 0 h 257442"/>
              <a:gd name="connsiteX0" fmla="*/ 2914480 w 2914480"/>
              <a:gd name="connsiteY0" fmla="*/ 0 h 257442"/>
              <a:gd name="connsiteX1" fmla="*/ 2691443 w 2914480"/>
              <a:gd name="connsiteY1" fmla="*/ 257442 h 257442"/>
              <a:gd name="connsiteX2" fmla="*/ 0 w 2914480"/>
              <a:gd name="connsiteY2" fmla="*/ 257442 h 257442"/>
              <a:gd name="connsiteX3" fmla="*/ 54722 w 2914480"/>
              <a:gd name="connsiteY3" fmla="*/ 0 h 257442"/>
              <a:gd name="connsiteX0" fmla="*/ 2914480 w 2914480"/>
              <a:gd name="connsiteY0" fmla="*/ 0 h 257442"/>
              <a:gd name="connsiteX1" fmla="*/ 2859758 w 2914480"/>
              <a:gd name="connsiteY1" fmla="*/ 257442 h 257442"/>
              <a:gd name="connsiteX2" fmla="*/ 0 w 2914480"/>
              <a:gd name="connsiteY2" fmla="*/ 257442 h 257442"/>
              <a:gd name="connsiteX3" fmla="*/ 54722 w 2914480"/>
              <a:gd name="connsiteY3" fmla="*/ 0 h 257442"/>
              <a:gd name="connsiteX0" fmla="*/ 2914480 w 2914480"/>
              <a:gd name="connsiteY0" fmla="*/ 0 h 257442"/>
              <a:gd name="connsiteX1" fmla="*/ 2859758 w 2914480"/>
              <a:gd name="connsiteY1" fmla="*/ 257442 h 257442"/>
              <a:gd name="connsiteX2" fmla="*/ 0 w 2914480"/>
              <a:gd name="connsiteY2" fmla="*/ 257442 h 257442"/>
              <a:gd name="connsiteX3" fmla="*/ 54722 w 2914480"/>
              <a:gd name="connsiteY3" fmla="*/ 0 h 257442"/>
              <a:gd name="connsiteX0" fmla="*/ 2914480 w 2914480"/>
              <a:gd name="connsiteY0" fmla="*/ 0 h 257442"/>
              <a:gd name="connsiteX1" fmla="*/ 2859758 w 2914480"/>
              <a:gd name="connsiteY1" fmla="*/ 257442 h 257442"/>
              <a:gd name="connsiteX2" fmla="*/ 0 w 2914480"/>
              <a:gd name="connsiteY2" fmla="*/ 257442 h 257442"/>
              <a:gd name="connsiteX3" fmla="*/ 54721 w 2914480"/>
              <a:gd name="connsiteY3" fmla="*/ 0 h 257442"/>
              <a:gd name="connsiteX0" fmla="*/ 3167754 w 3167754"/>
              <a:gd name="connsiteY0" fmla="*/ 0 h 257442"/>
              <a:gd name="connsiteX1" fmla="*/ 2859758 w 3167754"/>
              <a:gd name="connsiteY1" fmla="*/ 257442 h 257442"/>
              <a:gd name="connsiteX2" fmla="*/ 0 w 3167754"/>
              <a:gd name="connsiteY2" fmla="*/ 257442 h 257442"/>
              <a:gd name="connsiteX3" fmla="*/ 54721 w 3167754"/>
              <a:gd name="connsiteY3" fmla="*/ 0 h 257442"/>
              <a:gd name="connsiteX0" fmla="*/ 3167754 w 3167754"/>
              <a:gd name="connsiteY0" fmla="*/ 0 h 257442"/>
              <a:gd name="connsiteX1" fmla="*/ 3113033 w 3167754"/>
              <a:gd name="connsiteY1" fmla="*/ 257442 h 257442"/>
              <a:gd name="connsiteX2" fmla="*/ 0 w 3167754"/>
              <a:gd name="connsiteY2" fmla="*/ 257442 h 257442"/>
              <a:gd name="connsiteX3" fmla="*/ 54721 w 3167754"/>
              <a:gd name="connsiteY3" fmla="*/ 0 h 257442"/>
              <a:gd name="connsiteX0" fmla="*/ 3167754 w 3167754"/>
              <a:gd name="connsiteY0" fmla="*/ 0 h 257442"/>
              <a:gd name="connsiteX1" fmla="*/ 3113033 w 3167754"/>
              <a:gd name="connsiteY1" fmla="*/ 257442 h 257442"/>
              <a:gd name="connsiteX2" fmla="*/ 0 w 3167754"/>
              <a:gd name="connsiteY2" fmla="*/ 257442 h 257442"/>
              <a:gd name="connsiteX3" fmla="*/ 54721 w 3167754"/>
              <a:gd name="connsiteY3" fmla="*/ 0 h 257442"/>
              <a:gd name="connsiteX0" fmla="*/ 3167754 w 3167754"/>
              <a:gd name="connsiteY0" fmla="*/ 0 h 257442"/>
              <a:gd name="connsiteX1" fmla="*/ 3113033 w 3167754"/>
              <a:gd name="connsiteY1" fmla="*/ 257442 h 257442"/>
              <a:gd name="connsiteX2" fmla="*/ 0 w 3167754"/>
              <a:gd name="connsiteY2" fmla="*/ 257442 h 257442"/>
              <a:gd name="connsiteX3" fmla="*/ 54721 w 3167754"/>
              <a:gd name="connsiteY3" fmla="*/ 0 h 257442"/>
              <a:gd name="connsiteX0" fmla="*/ 3446676 w 3446676"/>
              <a:gd name="connsiteY0" fmla="*/ 0 h 257442"/>
              <a:gd name="connsiteX1" fmla="*/ 3113033 w 3446676"/>
              <a:gd name="connsiteY1" fmla="*/ 257442 h 257442"/>
              <a:gd name="connsiteX2" fmla="*/ 0 w 3446676"/>
              <a:gd name="connsiteY2" fmla="*/ 257442 h 257442"/>
              <a:gd name="connsiteX3" fmla="*/ 54721 w 3446676"/>
              <a:gd name="connsiteY3" fmla="*/ 0 h 257442"/>
              <a:gd name="connsiteX0" fmla="*/ 3446676 w 3446676"/>
              <a:gd name="connsiteY0" fmla="*/ 0 h 257442"/>
              <a:gd name="connsiteX1" fmla="*/ 3391955 w 3446676"/>
              <a:gd name="connsiteY1" fmla="*/ 257442 h 257442"/>
              <a:gd name="connsiteX2" fmla="*/ 0 w 3446676"/>
              <a:gd name="connsiteY2" fmla="*/ 257442 h 257442"/>
              <a:gd name="connsiteX3" fmla="*/ 54721 w 3446676"/>
              <a:gd name="connsiteY3" fmla="*/ 0 h 257442"/>
              <a:gd name="connsiteX0" fmla="*/ 3446676 w 3446676"/>
              <a:gd name="connsiteY0" fmla="*/ 0 h 257442"/>
              <a:gd name="connsiteX1" fmla="*/ 3391955 w 3446676"/>
              <a:gd name="connsiteY1" fmla="*/ 257442 h 257442"/>
              <a:gd name="connsiteX2" fmla="*/ 0 w 3446676"/>
              <a:gd name="connsiteY2" fmla="*/ 257442 h 257442"/>
              <a:gd name="connsiteX3" fmla="*/ 54721 w 3446676"/>
              <a:gd name="connsiteY3" fmla="*/ 0 h 257442"/>
              <a:gd name="connsiteX0" fmla="*/ 3446676 w 3446676"/>
              <a:gd name="connsiteY0" fmla="*/ 0 h 257442"/>
              <a:gd name="connsiteX1" fmla="*/ 3391955 w 3446676"/>
              <a:gd name="connsiteY1" fmla="*/ 257442 h 257442"/>
              <a:gd name="connsiteX2" fmla="*/ 0 w 3446676"/>
              <a:gd name="connsiteY2" fmla="*/ 257442 h 257442"/>
              <a:gd name="connsiteX3" fmla="*/ 54721 w 3446676"/>
              <a:gd name="connsiteY3" fmla="*/ 0 h 257442"/>
              <a:gd name="connsiteX0" fmla="*/ 3614992 w 3614992"/>
              <a:gd name="connsiteY0" fmla="*/ 0 h 257442"/>
              <a:gd name="connsiteX1" fmla="*/ 3391955 w 3614992"/>
              <a:gd name="connsiteY1" fmla="*/ 257442 h 257442"/>
              <a:gd name="connsiteX2" fmla="*/ 0 w 3614992"/>
              <a:gd name="connsiteY2" fmla="*/ 257442 h 257442"/>
              <a:gd name="connsiteX3" fmla="*/ 54721 w 3614992"/>
              <a:gd name="connsiteY3" fmla="*/ 0 h 257442"/>
              <a:gd name="connsiteX0" fmla="*/ 3614992 w 3614992"/>
              <a:gd name="connsiteY0" fmla="*/ 0 h 257442"/>
              <a:gd name="connsiteX1" fmla="*/ 3560271 w 3614992"/>
              <a:gd name="connsiteY1" fmla="*/ 257442 h 257442"/>
              <a:gd name="connsiteX2" fmla="*/ 0 w 3614992"/>
              <a:gd name="connsiteY2" fmla="*/ 257442 h 257442"/>
              <a:gd name="connsiteX3" fmla="*/ 54721 w 3614992"/>
              <a:gd name="connsiteY3" fmla="*/ 0 h 257442"/>
              <a:gd name="connsiteX0" fmla="*/ 3614992 w 3614992"/>
              <a:gd name="connsiteY0" fmla="*/ 0 h 257442"/>
              <a:gd name="connsiteX1" fmla="*/ 3560271 w 3614992"/>
              <a:gd name="connsiteY1" fmla="*/ 257442 h 257442"/>
              <a:gd name="connsiteX2" fmla="*/ 0 w 3614992"/>
              <a:gd name="connsiteY2" fmla="*/ 257442 h 257442"/>
              <a:gd name="connsiteX3" fmla="*/ 54721 w 3614992"/>
              <a:gd name="connsiteY3" fmla="*/ 0 h 257442"/>
              <a:gd name="connsiteX0" fmla="*/ 3614992 w 3614992"/>
              <a:gd name="connsiteY0" fmla="*/ 0 h 257442"/>
              <a:gd name="connsiteX1" fmla="*/ 3560271 w 3614992"/>
              <a:gd name="connsiteY1" fmla="*/ 257442 h 257442"/>
              <a:gd name="connsiteX2" fmla="*/ 0 w 3614992"/>
              <a:gd name="connsiteY2" fmla="*/ 257442 h 257442"/>
              <a:gd name="connsiteX3" fmla="*/ 54721 w 3614992"/>
              <a:gd name="connsiteY3" fmla="*/ 0 h 257442"/>
              <a:gd name="connsiteX0" fmla="*/ 3775291 w 3775291"/>
              <a:gd name="connsiteY0" fmla="*/ 0 h 257442"/>
              <a:gd name="connsiteX1" fmla="*/ 3560271 w 3775291"/>
              <a:gd name="connsiteY1" fmla="*/ 257442 h 257442"/>
              <a:gd name="connsiteX2" fmla="*/ 0 w 3775291"/>
              <a:gd name="connsiteY2" fmla="*/ 257442 h 257442"/>
              <a:gd name="connsiteX3" fmla="*/ 54721 w 3775291"/>
              <a:gd name="connsiteY3" fmla="*/ 0 h 257442"/>
              <a:gd name="connsiteX0" fmla="*/ 3775291 w 3775291"/>
              <a:gd name="connsiteY0" fmla="*/ 0 h 257442"/>
              <a:gd name="connsiteX1" fmla="*/ 3720571 w 3775291"/>
              <a:gd name="connsiteY1" fmla="*/ 257442 h 257442"/>
              <a:gd name="connsiteX2" fmla="*/ 0 w 3775291"/>
              <a:gd name="connsiteY2" fmla="*/ 257442 h 257442"/>
              <a:gd name="connsiteX3" fmla="*/ 54721 w 3775291"/>
              <a:gd name="connsiteY3" fmla="*/ 0 h 257442"/>
              <a:gd name="connsiteX0" fmla="*/ 3775291 w 3775291"/>
              <a:gd name="connsiteY0" fmla="*/ 0 h 257442"/>
              <a:gd name="connsiteX1" fmla="*/ 3720571 w 3775291"/>
              <a:gd name="connsiteY1" fmla="*/ 257442 h 257442"/>
              <a:gd name="connsiteX2" fmla="*/ 0 w 3775291"/>
              <a:gd name="connsiteY2" fmla="*/ 257442 h 257442"/>
              <a:gd name="connsiteX3" fmla="*/ 54721 w 3775291"/>
              <a:gd name="connsiteY3" fmla="*/ 0 h 257442"/>
              <a:gd name="connsiteX0" fmla="*/ 3775291 w 3775291"/>
              <a:gd name="connsiteY0" fmla="*/ 0 h 257442"/>
              <a:gd name="connsiteX1" fmla="*/ 3720571 w 3775291"/>
              <a:gd name="connsiteY1" fmla="*/ 257442 h 257442"/>
              <a:gd name="connsiteX2" fmla="*/ 0 w 3775291"/>
              <a:gd name="connsiteY2" fmla="*/ 257442 h 257442"/>
              <a:gd name="connsiteX3" fmla="*/ 54721 w 3775291"/>
              <a:gd name="connsiteY3" fmla="*/ 0 h 257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75291" h="257442">
                <a:moveTo>
                  <a:pt x="3775291" y="0"/>
                </a:moveTo>
                <a:lnTo>
                  <a:pt x="3720571" y="257442"/>
                </a:lnTo>
                <a:lnTo>
                  <a:pt x="0" y="257442"/>
                </a:lnTo>
                <a:lnTo>
                  <a:pt x="54721" y="0"/>
                </a:lnTo>
                <a:close/>
              </a:path>
            </a:pathLst>
          </a:custGeom>
          <a:solidFill>
            <a:srgbClr val="B4B4B4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5" name="btfpRunningAgenda2LevelTextRight587740">
            <a:extLst>
              <a:ext uri="{FF2B5EF4-FFF2-40B4-BE49-F238E27FC236}">
                <a16:creationId xmlns:a16="http://schemas.microsoft.com/office/drawing/2014/main" id="{E60B269C-A6ED-4665-D931-AFB87E9CAF08}"/>
              </a:ext>
            </a:extLst>
          </p:cNvPr>
          <p:cNvSpPr txBox="1"/>
          <p:nvPr/>
        </p:nvSpPr>
        <p:spPr bwMode="gray">
          <a:xfrm>
            <a:off x="3185197" y="944429"/>
            <a:ext cx="3720571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err="1">
                <a:solidFill>
                  <a:srgbClr val="FFFFFF"/>
                </a:solidFill>
              </a:rPr>
              <a:t>Ragioni</a:t>
            </a:r>
            <a:r>
              <a:rPr lang="en-US" sz="1200" b="1" cap="all" spc="450" dirty="0">
                <a:solidFill>
                  <a:srgbClr val="FFFFFF"/>
                </a:solidFill>
              </a:rPr>
              <a:t> di </a:t>
            </a:r>
            <a:r>
              <a:rPr lang="en-US" sz="1200" b="1" cap="all" spc="450" dirty="0" err="1">
                <a:solidFill>
                  <a:srgbClr val="FFFFFF"/>
                </a:solidFill>
              </a:rPr>
              <a:t>iscrizione</a:t>
            </a:r>
            <a:endParaRPr lang="en-US" sz="1200" b="1" cap="all" spc="450" dirty="0">
              <a:solidFill>
                <a:srgbClr val="FFFFFF"/>
              </a:solidFill>
            </a:endParaRPr>
          </a:p>
        </p:txBody>
      </p:sp>
      <p:grpSp>
        <p:nvGrpSpPr>
          <p:cNvPr id="26" name="btfpColumnHeaderBox290326">
            <a:extLst>
              <a:ext uri="{FF2B5EF4-FFF2-40B4-BE49-F238E27FC236}">
                <a16:creationId xmlns:a16="http://schemas.microsoft.com/office/drawing/2014/main" id="{697498B0-512B-12A8-373A-2841159920E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30200" y="1270000"/>
            <a:ext cx="11531600" cy="318997"/>
            <a:chOff x="330200" y="1270000"/>
            <a:chExt cx="11531600" cy="318997"/>
          </a:xfrm>
        </p:grpSpPr>
        <p:sp>
          <p:nvSpPr>
            <p:cNvPr id="27" name="btfpColumnHeaderBoxText290326">
              <a:extLst>
                <a:ext uri="{FF2B5EF4-FFF2-40B4-BE49-F238E27FC236}">
                  <a16:creationId xmlns:a16="http://schemas.microsoft.com/office/drawing/2014/main" id="{C5F9F1B1-D552-6AD0-6EC8-09652BE7067B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11531600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it-IT" sz="1600" b="1" dirty="0">
                  <a:solidFill>
                    <a:srgbClr val="000000"/>
                  </a:solidFill>
                </a:rPr>
                <a:t>Motivi principali dell'iscrizione alle università online in Italia</a:t>
              </a:r>
            </a:p>
          </p:txBody>
        </p:sp>
        <p:cxnSp>
          <p:nvCxnSpPr>
            <p:cNvPr id="28" name="btfpColumnHeaderBoxLine290326">
              <a:extLst>
                <a:ext uri="{FF2B5EF4-FFF2-40B4-BE49-F238E27FC236}">
                  <a16:creationId xmlns:a16="http://schemas.microsoft.com/office/drawing/2014/main" id="{EFBC16F0-F232-9514-0938-6E0951161E85}"/>
                </a:ext>
              </a:extLst>
            </p:cNvPr>
            <p:cNvCxnSpPr/>
            <p:nvPr/>
          </p:nvCxnSpPr>
          <p:spPr bwMode="gray">
            <a:xfrm>
              <a:off x="330200" y="1588997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ectangle 2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iWcfk2RmY+GE6Q6T90sFUaYhHdubK/b9WYMbiqTQFZNRdTaHJ1Coz+gznC5J29/l+uni9WCTqRMIgVGBy5FSCqTCP+Vdrf4pg20L7fH6DBP39cuwc1TqbCtOUyYippg8VnTZivfvTVPnF8/A1Q6H2fe+gcVPbpGLh8+GMO/QJcU9tP3ZRjWiig0ZcFjeZkEHqnICxaxLVKZ6BMj6fhx/RSukF0wokSXIWdsI3PKqwUjfz0tCRphXfpYliRjXVFL0UTi+iA5ZjoMxBghTKQ/JrksBnd1XBJ/YwkvV+ansm1oGVyIk4QMI9BKrx6WwitQ6k03tHOWU20qfcFUj9YqpFsV30I9H0LMCe3W+hPbVP/SFMmRbm19yehQliv3JTkCKeuicTFtsKq+7YMevrsw6n/C+EkAoSMzLvqYJ0x0PwPkT3lqrqq+nLrXgYAidvBUj0v02AiKy93DF7Ag/0YkE3JJyYqZbAcbin1sDI/9zCY/8OfU+cWOfI2dr6ewrNXqfO9rcOYeZJC4mGe8jPnvDPMD4JprPGzScPsnTkJgA0OB8y6rs9AUIjWIqulSV0udJNWefN3+QXRcIxto0EntOywYFbIZMzgdIcgcvB8kVNsbF+GU6/IrI7rJ/nykR4C2bWuUFtv/ePnGSqs5VNd/Ku12ZaoBTLBZbWen9zqHQmzrWwubQJlXo3iYaqnhUv8Sddy6Bkjsasxy2kWFRwEuewqFxckkQjwRpL8SOzs+xX/HDwnTB/WHAAKqwkeT1gbTxT73YNAvHDEeOscaMk4QzYShwN4Ig+O9DWQkLsZQ/NflFLmUBDnI/14Y0fSSkoS1LuEnWBEjkt4CS1cVzL4Ojg0k8lRgr6b77/90ytPa0rTBHLMppMIeSQEYx+K36PM3zW+aWLaRlOPBb3FGjSH6veYfTUgMluGG+qdKDw+fL5LQ3tOeNOGEhP4KQlKO0VGwyZJoYgK4do6IesTIMnCvJIO67PutzJwJ2GjPs3m5sXdcSiAAvpRYiSRMyDdFDbw0UwqQpj7biVmEjwbvbvTJQkqRsq2rOh4a518kQiTo90FeNt6Gxw3gK3JHhFCPsw34wRJjrLAaREYe7f+5moiIexHk4Bwz7vNOLKJlHSjbADqFCd0yyOqt8gB5YSztqccgR1mvTrq/MqNlxr0Ldv/uziEsShdM6O911gm4B79VXdXO3phz7SaNLcYn5aURj/35//91o5i+RHjHKxN9yMtHr06gJBD+AS8EY9ZHD3qgw1Wgk5/P+FmmIULHD/zUFoxQjgugYxbSAFZ+U/oDGd9/p0xy6iFiBA96iIQ8XokcfPzWI3MKv9VyjkWBPmkupNDyK5Q40atYYujwCC4RRd+d5ofmlOgJvj09LCuITYZU50VOxClvHzFXNXuRmAC2fTEl1I+EVUjsICOcMqTRIwwdycNrGMT5D6IFCv61g4cLKr0eC+VLY91r3DVsiXA10lBjxNXf32GTiRjxDfXYpyo+7mdjRQQR3FDRmMyRG4/N4SJzvFRzl8+0p2UjXcR+3Vylo9oyg9hs8DYbKbRrsfixJa/dD3omRzpUVwbMz4gMtdTrmYw7LbeC+vJi8f1AyuQiNL7OlHsdtEjQqczkimZI1tV+siva83e5CgPQ+gVkiMOJrnjMYueKOvJqBKc5E+AaKDNohum1dCeZM+WCShaX1ou3wxrYaDkk/Oq1Ppw6S4PiMJW7JlMDMEXsjSCnEw9aE47zbyAE6f+28FWkLceFdLJ4G4r1M5lEpSXR1e+RuELr0Di9Z7Pu3QW8V+BCnAH+RNNqkok4Q7zd4fr1nfqwT+tpn5WFTBI2pmNxbPddZu8UEQTdIJWuUieATrWzR3TYAjLD8xRDSlRRvoAoFqNXpxs6oL4OF6n7ZkEmK2qY18slC8M7lOo6f2WhTA5niFB+4eC7b6RfnsSk1k2AG39nCHL52r4wmkdT/pa5VwglIXfvMYICI9ThybIBZuJ/TLFvKmDX5YvYKIq0ePM7NvD/vEmB+d8mipvdHMEzUuAA5uujavXrQaIooP2Z8C6PqgotZG5r0ssR/mjcT5CkTvxN+0HPLEjwRMBZnukldflnMUJoVsKd8HdX8AIzBGBBQpW+WGFrF/rmLaUDc+ebjgApNZoHWE8f34f6RUWWP31VPlTuzexox/AU2gTsPpWfuPA0Icn9W9Mv291WAELlCENOXjDt5Su8M61/7AnHqgt14j3sKd1bkR7R83HPsZwhDC4PZDdTD42OFDh3UIrA37OfmDSl5DEeLRqJ/8lyLLuPwkpQsHBGleSFvUI9btCy1BKNvcEfhp1AV9CxQl01xOP4smrSG4aEdmpN2lWu9jvBkzJZJT2gy7GM3In1MElhQynojTY8Ci112A5PsLVRbD0L1QaqUsBHfBgzvfIxhB53UOF77YXvsynfjN7SOJ0g/ObQ24r+lA9Vif30q+J5Q/YM+7Xt4RAFrZEB2pqYQBEWf07Lyh/lA6KnxZ3KWrIDjnbmSduRnjhVuTPNevVtYQiiiemiYtuevTzIReDu7qmPTFyvR2yE5E71301GnFMRyCB7RtAFZtcQMDxt3Q4bw5F0Q3Va8OvO03RhoZxGM3u7wC19rRr1ldKhSxV6XreRqLVuP92ZiaVe/qgCo75/apDTLsEJeHA2Gbf3FkE0hkbpFIZ39+iIJM3nybGFomkp+OYDlL5dan8FqkTt2i9tcTxQXBVrRVlK50Av0dTFDOBTwiwTztO8i5tC2XR6dSuxOKQWTjIxoiDvaepiIp3AlDzjVhVGarzo29PHap+NLTSj/zR/IKK+f4qBMtUqJHW+4Ojuq4sTgR4kcCT4qKy8bTVhQU1l2tavwfno/HRekhet2yPPBwh0Mu5dtsn5xgUA5bx1zRJ2nFWeA/uHzF43cqBIOicPc6L+6x+4Da1s4g8qWewm8n2SeaY0Y9ObeOD78H/Kyh24LochXqqtSscrtWmnUtHNXL7UZmXjLqLJSzMg6HP7oy+f1I078SoPfiR8hkz9omnNxGPtQFq6JTCyXWpG1alQ7GkzcuMnDbufZl0W0DI8Dlmq1WpFBh23e+WcnjMYV4R7uv8gpGywrr8lXvGB7uMmh8REUeeU4nk8Q4VO91yJxp+yszlxGZKokeZE54HxaqnBw8eDucTpB1fo492oJ1TV9Srd9CvLH1tIinDO99Br77gE9UzYmFThUocIextrRSqpN4YDffxzSFPg8ltGwBkcXy759d7BKrmIJwtBXRHpGoOTsIQclh3A8Vm6X9LBSDIpP43yWMAM3lWBtIDNYaGu9LWQ3swEmkHZKJEd2w/C0WLqv4AbVwOFChG4LqqBsrsr+543ln3mP/WbeXZ5ycvXR0NKU0WQWuIMNVf5UA5SG9188T81MlI9aWRqF9JbyD2QmRj1d2K0rHUHIbtTMYNFqOI0i/J/w/RIUAT/UbONYDs78Jwop33B4yxuNdLX1Nt/oEqCDH/mkl/oWMKubCpf0+h5y1hCpdqCC65tyjF2x1QT4Gonv40YIPlAaPk2k1ygQe5lMN7jyPgtNJFLB3eeV13vKH0ziSDoV8JI5NFriAOBkTPosY3KjwdVwoBhLsdjlLHHniDUG6DHZ82tpcP/cfTktF8WDphP68heJPJi4q7Jsrtc+B4i5vmtiD/23trx8OuasyuwETI9/GxKgQOF0FE6g5kPcngMQZvztTtarUODpL36M0vgChVe2HE1COCOC0enPnheuXyCdoBPQh3n9rC0qyQzEO2hvzW51+xTggxzM1onM5our7AxujahflGBOA53xxbvrY3lCIfwRk1MPrblTu+L3H2r3KoH55voWVvtLJ6ZkMVCFVY21JHaDrifpvagBRgraVR9Pp6Z/l/3hjpVWpKcsSkmV45eW/QbfV9Eb7PakayhwUR/fAOsYfLooiNPanPzXFJWqZWOdUbyQJm8+w4l9Wv+2lOPP4JRotRWjUiM8gdT72/HiCY9whAGsSOAe/TqaQadpM4lJGmQ+oivc5vckqWKvauQQMmjhtN4UWJC/hOOQxdqH+Agl072Q9OgggifkDqh4p18xnnzrqLnDn1fxYTlQNorZ2EdkquAlHO60bBbsffXZZjhpbnqoNjnrXrnIjME0GAcItfv8iQUYRzHUNsp7ipGiNBqBSiz0xSRN/sM8bHhDPT4p3vufJZ0vbCn5ljZsTrjEkDsN2wjkWtxLWVd1v95AkYLUZwzyD4D1N8y9VV3p3EA1tC+nJJV4ltvVFOipz6dhPhl71u54yOGELLItg3XcCHitRH+cC9jOs72bg+NLXjhjJ7XIcIV1JHWf+oZxAPYAMQSBplfwWYG0RTr1p8m/RRmlaBafCxsompuEzJdFNVFFV3SnwG2lCOskbRUaO6fC8SBgdBQE90yKRPiTpnMp5Os2QL42Ovfl1guEdn+6FuRG33E8z4pg16KCRud1uWvXveLKGXJQI6G4PRgFCXfEWhLl19AuWtLQHaftKtDxnFjoERbl48+nA705JW/jeQmw3fLBVCelTyXy6elPn/E+Y97DQk80FHjUKNgHp8orPgqDXClzPE4yS/tgNdbjhCRLNYNLf12UZrDAp0LsPb9MtTMhgfjaXa4sYd/EqW954Viii+ki3LmetlyHYAHv97DooGdiboTePt6SaEEWNDrLpjyJE68OyLtRGYSpifndA3rn9nzTJFu+i9vWzRKGMjV/QtBLb2lHf/qezgXWdONE+BYEMk0spmQrO9nA6oraSSWulDP7gs1PtwGDi6LW4r0nk6jgTFcPPjJmKd4BpiAZj1ysEk0hG9iDOc2sPDMist7+jIZFIlukgHmTGGHJAwkPt6NsUh1R1/AILZkKTGRW0zlDB7ZtyLA804pvWyJmrftyIJfgS24nvqGHcB2lb/+BEJ1ChqY5DTw2tliCJj9GH1GOgYMvkx44mmf2974pitVaBcoo5QbzIO/Re1lT9D7vYEUR6huUooF2DrhCpDXeQPOFI6sojjgNP5Nj8i0IjL0uwpEKlCOPyg0nh4zhj4kAzS16+SXCQ42bvFNoTrRCgeSNLmDPjsLwR4/uoPEisB9Qpc3EycXx7jSKVlcM+eIZaBuHxw7rPavZ7q4YJyNzc5TtAvNcqlAeazlgxIGXWQqIE8GD7GLYK+CFsBg041r/pT2/xkkf0UgheLXfzoYa4PhByEqmQ/Nq77rEbxShklXElfpe2fxRj2LYHEEgjX0K9OQtCA4duloRQGFH35Fw6SzlfsgYvpotbH7T86iBVHyd9wUTvcCeoeqsBqhhi3oW7XIh2BPukOUDCnKkCS3LwkN4BrKck8F+dazGoci5pxI6F4dUcpU32udp3waB3fb6j5dlfqtfRFyB8bBrCx7lsR/6bMjBT+ghP1WdUUxY8kQ2IzVqxEZh5578xOulgMzfz7y+FV9+HLtOEDzJE5BLBzV4O5SnHK8ZyxljeCu8Kj6LqUM1xuT3gRYxLnJ0wnMwS+0cgRVuyrwKvB7lCf+eBa0KPnPDz66rLYMLiXG66w1xfOtQrxwv0kpudEUbiByD3wdV3NZkacneVYzhI8MCzj7WPpU4JMNLxhyRGr5Yl9aQgKILftBJhCDPqxr+QVRoaKKB4O+xOt0cW4Z4gDfnzcQU6GmL3GU3CtcABSGkOiNw/1bFDiXGYUaokRtKllPvJA7vB9vfAwzs0eUXdqZujVMgjX7BlnT6MLDfkxg9CVXqU0/4UgBCELxN4XPdHO8PiKUu9JEQEZ8wxOsQXl2PdE++NiammVGgD9LPWT+Pswd/vYSjCiKGaFhJX55WIPvs1otimiHxihZSjBn369iNjDRkWghp4UoSM1DPKXOPrVV7AtDFAXt4QJmC64HkmlwSK/FyZGDC//5ZVCRqnlrkYsAsW+M5H6OwJ+caIb61ZgtNGAV3m44KI4IcoTIescRAz+6p2AWUWX09Yf7LxOSHTMAN5nCgR+lUqVAaOiMdSh84FOaRNfjzCoiEoofcIxNUz+tzWizmaIaXaoY5Qlw1/MmxO3rBeaktV+pE6xMlY+XiuFx+NHnrNRui8MoLm4M6VIwsotOTSjbVIHlvgvTp/PfA0F8/tjWFdEP67HjBEeeaDHlngtgmE8Si43CjQXSUJGouOaSsbRzpnUNTNcrGfc3UhdO3D0vVmcENO+Rh60urah6KuOH6fQ5d97zgWdlDwRIzGRWRmPTrdZBoeJuQAoygTB702f88NStMUpN8uPBok+5hXJYzA4DqXSKSQBW1pgacM1z6BjSFthPWFOg67qfSF75c23zZmQ4whnORsCVvbepynISkBBQ0VbBlh0NEHv3Jh4GJyseDbAU68NliBAB5cJAOuBIsLvKDZp9GeHvvrtlWOh/SJzU9P+XzNQ4CoNdSbWZqddCE5hd46EqkETo5CmFsIQ/tezTT1vXA1aoKRR6Pk2zJ1F/8Jb2Ij8fBSqjmkIHCcsgmLYhKaJ6cc2VRquuSsjnymUXEARE4HiBFzPh/PH9WxBm3JFTrkqM2R1PCJ9/s57TUY+mZVMRAvadN12O2GNNveCVk4lxz+oPjIiQTsNoapVMTFsD6CxPKFyPbO+yMZ+XOwPoadFJiMJfQzhdNgSdbAFJDowUOJpR4pRPpgDa9gCtlRYVF2UEvDA9h/7cXvgaZDuynJLDThnR4jsnC0DARmB0K/tYPyq6l8EvPK0fcK3NrHdZI+DpXqrumAoQ40EmbX8qQi2vFb7B57trHn5N2agCEidfj7/P0GAyifvlQr8IiNdCRfc05PgkVgiqQdTtqlB7oV+1JOqEN+EzJUtzsyWWLdZW90WduZA/I6cbZGIZYxsYp1C3BfpEGGdBzRVJ6c5gnSBGP1OGFcP2WopS+5MEdQ7ZcFpNlQRwEdWAdKoQm4Vf5rj9h01pvtFX1FPie2aIa9fXiqVAZNEoac5qxG8lmO08wATlD1yOZNxy3ZedcHyeJgyu196uQ6oweAi9/dsNjpnOGveEMlQHe3OGSswAnzmad30JoMmNXXPgw6NqQoc8TIjeCaFJBFHtev9f1qzpZGvlEPCn1+e4pBan/1ClBoOVDClZaZEL4/uBrYLN2OUGQ6bbLiR4Vh+LE2Y5/6LCUeOkgYBm+akEuYNnGHvh8R1sK78UkdbTFL3qf5Dsylis/NDrf//Bw75Be4258ljziTYLh5NkCd1Lt/7NgKm6gx3+rDLdVzU3cGoYoAJH3w/eUpPuWTUenc+8WUqgLq7X6+xzBzIVTL0xdzoK2V2U9WeyDB4TyNGQsBoxayr0xX938HVEGDbZfn3W+7KauoHt62rQ5pqMwpuKnptYildwNicpiltwyMnXw8AmT7byczgTwAZBzt6Va/NRll5h4nzHy/d3mpAk5FEk++N4JHZhD6+wTeZZTrs5hnwXxAmSndAXsoSAdDD18T7ccXBkZPFzVX6AMcyMM+iKvAiMf9VmslgHcAo8cFnhx08uaFqnkCorOcauoyLUd71z01Tz23xr9BcA3hBpAaCxN7ADF3fQRDuHa9u9vhoh5eXOMX+HV0urEVYArKrZSMbTypAhF5lb0mJvWEFtXJb5KZIuVYMkD8x1tZ2TgpcCJy7peEMowV8IAWlEnsGnxThSOKa3z95M8H8InbaJVit3p0hKoRVQlaE6JGLa4a0lV/vj7USV67P6UwIeW9oSYXqcsQiURAKrO4oupv2QBppkUykIt1VM0j24B9dr1kd6iqq5lMT/Vfut2w/RwhnCuo5xhZM3KpreKFMPUpFAP3rp2RKEz08BD0i5Zafi3yZf5zhFZtD2NS0qyXKC5S0+CHfGhE3ElH7rBQDVx/j95nDPVsPPMZoML6i0eSOtp0wozrzBMayEIwDnSGRDzstiIZ38ax1qGO5BKXa2ONuC3RsuLySUaJSANl5rDF5qwf9twQw5L/GZzghahM2V42f+Q2egE2O5mm3nvkTxhkc7SlQwDlyHddF+ctMjKCNCYPPYGFlTlWt0cBnHn4lMcabzJo1leLc0GLUqEbE+sK1DMnK3J1BJ5bYDgKzshxdGADOvsLCZ28GqYfvfHP/YwSoo71M6EjrrlUsyurRNAzLOOvw20y+FN6ELcJvFOzsegtMgx9i+gvNP060TDwjSkelSQBxgtIS44SshFQQElZkptG2bNekCqgYNlreJ/bEK3d6J/5u3XxBBbnWIJZoFOMKsGGjRlJ05vVETwvS1ND8ZlGrIVo2Df7pIROYphrx7+ZqC7gazvaKGEw9+EuXnJ4IW5irMdRVR8YGs56oOWzgaVZ7e4JvHJ7RZGfEJEW00D4SPE54hHhJwnTGa51q5ma2rQIabQf86wdhkEpMrSCVsI7P7BgE4F46tbdb8vy9d5ytCcCmv/OBcnxqtkVIdt8a6eaILQQzwxIfgv6PiHQjP9usokKq5DPq0emgyM4KvuGp3wd0kgk+XlL+/tUX22pLY8P4kAJpk2+lDFs1ahPG+CiofqKC8VkT6RTPvjHDGOlMTt81Km2hnqoKDprnEMs4Hg43rk6hyPfznJ5ZlmHMishhJZ+wpOdQNDAleqsToLgxu6Ssf1meVlLgGmsNk+xa1tXo0Kj0/2C3b/3FZnQh4O/hyDDLKVwtORSrQxJ0sGwY1wG5CM7tu39VuqL2RoZ6oa2gqb8MEsmRjXwSTpXPfYt6Jw061G2KuwXOFcSw8VY4TtJTkRazZhNSs51wrPZiJJFog1drMrFNyq9PCMdPkOUTirFrKQiNj1i7cPCJqlmFQrbuQPpYal2Rrxgmptwhb+yEAyN93Jx+8XzsqL0cb3xPvinguAmOqM0+XVgDqqikFBHH0V52eJjzkB1FUug9fEOgcZJV7qc0A97BvsLuMNbGpn8liISxC4uzoPrFaaJgLFB1IPBc6Oxyhwd2vYzwYmgD8dQ9Fl7vzu/zJv6MX/hkB6MV2srpHKvHzRQt6Z+HDc8v4ZlQEaPVbiMh+Jll357iAHaEsIQK/2YqwgZq0QfUIoimm6P5fYW8tn2MmeECbGt5hbM0WfMKatGkUL+TzqLmf926iVecEJedC12s8B+viD3ls644H0sBCsge5e++5By9EkBorLOCq3NBiaQ3qlnTdMITs7fHDW5q5T0oCh4Ie1asn02/ACgwV6PtITEMfmNJhNRrxrEYyXIFWHbY3fYNRfLS6krzghnpT4hjXnTsNeErB1R7VjQJLclVpX5dyPNfjZGZ4wBX2cLjLIdUZ171lQVDfxOHzjlNSqKcQVto2p/w3bKVjLRj+Nvjke3LwlOjgFQW3OKDQCxr16PI1Y/2Nx2svFqDmO7wL7g81Hk9RDwzKCs0nKjf836VNCR2cu0w7DQT/InjSzoAzKlYLPi+gvUiv9kpQnzXmk/JnvNtW3eABYgmOTwaK5i911Q8NB9xKKvbGywsxBq/lgY+WK9K+L3f4lDpRs8AFuIUq9yPe1pRLH/Bxzllqd2YFsDadJnzxCS+BSJSDCkCKujHKFzq85aEdot8zC1W1stoKwuaWezBIL5F07Q9hPW055rgoSDfjkAmthnb8M1OB+4qcylmG6hG+XshnasQu4+NdNLd2MTBtRqdG8NXi43DbErLF6tw7vW+Dw61d9CzV8zvdn8idXKMSDdFrh0JK/3q8WmSOr7VG/wRXq74pjKD2rZIP0OzxhPxBXaGHb4KiJJ+JjrmyTddEYNy3XvUGJhpmWIpeZZBL5hg5/qfSs6cArn4anUXFcG7xJLCIpYjUCrUknAtqhPzU7ZLnSg5q0EK6ft9MxuqO35B9S2yuwT0Ul6bmEQ9WzE/+7CJSO6HecYc4WljJQ3lZqyKMWhvxD67/AKzESS8eM22ui7UxetK1q5ILUiNl3anu0ltkjPgxlNjJw6YDVb4pgxTXpi+hMsUYeTWkbJ/odTkBb26T0WcZ5KohlfGrmWf6OChqJ3s9OYrgqg/yXFq0id8I4MaA5emEGM2K1VRyP9Jom2YwBjofXCX1u+5EmSNGSQOHzF32+sKjfKsgbD7BXofbcHWQM0CPSoj/ycX/Y+LkafHHDSl+nECO4rneoWIKAXngolnDTbHTu/PtoBOUQGEOmNJQSRWEYub0AJ8HpBp5z6REAK/LfsncsnC9W+bqO86QyCFFy+RM2rTDR2bayX4MhBZVKgtwRqFUjE4xqjz0xEXUg5Iahfd21hi1kw2F+BfY3/gKr8WODjGKfWDe8NzgFQCVUVtjYeOATgL/Y7VPzX20qGLSXyxm1KHsWkiIvS8WqL4KxoARmbi2MPXqzrf193qxxEhZM7rZqWhgDDI655LM+PE36mcGC4cBrW4o16wUJVrf+YtQJP+A+xp2aazdlmj01wITrpFLYPkUZopdG+dm44HObpX0Mc6De+pN9KVn1IcuB+Lt5OcJKPcCnIFZSaogr92pfU75yRwosmNgLzyKX/3SlrYcE/bfwq5xbhS0wMXXb90Ndlyq6k9w8zoEan+yi2oqbxWNuasHht2oJBcuGlTgqVRQhiJWNqIT9XuVEpxSp5tnPsizmIb7Ywp0amQ/4wihxuQ3y2uMlCauP865FAprhxvLhxNoeF0V/aEdN54RW/G75wPsSRY2hN3uoET0wewVD30Oft+rtSAtDcGHuLNYEvRuA4vx1WcaeMcQlGA1J0AGDjGxB2cUC9O1Sphol3kAMgZtQORJCk18IGxgqEZ1TaKZ5q1YNqCtWhvd9kd8dfh7MoyeU2vYR1i0PCV7jHK8dKJ6hQud6qgsd91pSz6YTJ4l+RNOMeRIks2qw33hgkpY99ACzNHbm4DAUxuF2k/Yjzy+TrKHYQGPPzZj+eR5XMaco9vmkwq3Ja4p/14s9ITzP4dBrDGPkSrQ3QLYu0r+09A7oL6d46nq6/2kYNirg3G5cYsibYoLjSmjFHCCyLIdyTcun7olQ+CtpuyKaB6nc5ztVFeh6f/jYPokEc5Ii7RkJ6BT3JM8MPB3AaMMtKyFbHWKdGEw+Wk4zXowipjTRe8hX8Veh+ciTD8Wldhr65Y4XbKkkY6VdLNYocPd5vxZth8GVOm/HCln1aaSuB9i0OMc8F1jQJ+ABh82Uksi8z7uGzTih89lHW9XYqM9ehZby5YByyGHYFXkuBLHYXDbJrNz3sDWPGpuYrZu1V3NdBagYJqjEmgbAy9sr6UuzRP0W8qiQXUUZ++92kMMslGZXIrv+pogkiWHD05rSnbC3/+tlaAtV9QGHdjGcJqZNH45Q1jbh5HnzyxwRO2gwn0pfKigCAeJPMj5gGgqIJhlkSAw7fI5SW4aGKn04h+ClwxyvVC2ZbDFd9vKeJlKXpg7xUDIeomkh0vz03JWvCMufx0x5ISpKS0nyI5QMoffUbxJ1D1Z7AYAWi5160yNMgGqxzQbMrCcuGTXg+YhdLRIGSjN5MHo9NnA+cbDNYlAj2jHGilzKdVTrBC1aV6jwhJQ+xgsmTqzYrJHtVr9ZoR/rbVUarn6VKd833EntZcVa82oYhp1keAhmvcrdsoWEYrCqMnvdJuCvFauSGl1c0FE5JahGq4gnr7rKllD3lkt8fI5TM6e3wMl30XZ6Z48m/lXHgdYA+mQQl/BYI5voBQOsucva9OLZ6iUnUoKUXTnQIHod5Ms6kexRN/QJkbk3NrCBSNCOKbIuOtIxv+Xj5fDr1/vS+O6QpJX/nD3p6j4Ev+mka16Fy66FHp1uIVNcXaXuYWa4zZ37FVX1WQkgPoxDCnRtv1vhLOC13Woe6N3f/1g2BbTYEtxsdNr6u1nxgkecfqffvid2I27sv62zH1OMUNZkMeFBwbrtWvHVsq7wt2AKZoa6EzccLngtPQzhcSa40G4d3m/ST2liJdj7613MVdqGvn1HEKqTvlwc2slbV07pw/OygsZ6RtIAfvLCqrBfeHd47WKfxLpWdvo4DV2eOKrQDNcQRhbvmV6sP7Wu7sK2B1IEE824EtzPkvUggufGurwTNjns459c1sbeESECklVsFVyvZudxvf4/fXHR8c9f4fg2rMH/fNkFgwlpcFzyJzZyHwLQWav6i428arkcqImlOy8J3jfkxjDX3z7IOquoJAl0tkdCc/XrodGTpApH/qrCdPNlJ5nJ7TAySexcTh2B4gZcBNXS+EJZTjVDNVHD9ty+pRIS/X8s/fwuVKVPQWPlULvMCgCOuf5wyYrcMW+LG/RqesxclMCtKhKBDtcYLmmnznn5pGF/eiBGIupeaZmNX23Lq9rWSfvrB24cw6XJMrXH8F85gWdkXLVooCLL1cYegw14zHV7VFgX25zQsZgv/zmUMzKwEs2Gulvvmkb5P/IogdLK/Mq+w+M/IsI7EOVMyxmk3NocT6H9VpuwQNHAc1S0bJTBuVl2PASGJdroPq9DTf1bl8XYGms7rX9tAEc/Pihp3WhZ2nNMae2lagrWlHBdCrcThkkUpfW7qKJN5xyf7CQTSa7LHfHcokmczT9rT3f5sD34SfBxUq4DkXwOKX/s24f+BLe42Aih3EwD0cioP73rYLs8VnUUeoqNgN7d4LAraCtT7fMbCRw0i9DEkANy/xYuWGhDwSWdNpWJSAx69BSjfC1q2V3alOvU/iUUEPXGw43NHVPztURGUcmYkquENeN5yQlFJQd3CUPS/PbnHb/SW2v2JzAeDIpgriFk26ndhZV5kvaQbLqQJLXQL3Bh1jZsVtr7gZoNcXtqBYPeVtSzGOn9qm3arwwKeTRzLPSHNZGjBpB/IsTH7plBHqO9bSNWXPMnLcLMlzkm4wAn2gblDTRYr6n0CtHO7LZ2G3cQQ4y0ZgVkFpXhsBBHmywOl4dvJZuWY7rfJqc/StHK00BIrHFIjLsMdMhCpTy2dLTlpG7PdOjOpiNbAKTXEA5dJJOw8tHc49j44OGDXM8ZCxRIx1y24zot2OqIGkD0ZVqupAtA2jF5HBH7SN7VSRHT7V6M5yVB/CULCu1wjls+y7ei9Z5u5j8Rh06rvA0Kjbeto4T3tuM7PAU4Tt25GcIZ0lECmoMIXU5vcWdCQGuh3+/bEa7NNnNDZhebaD6U5EKXem7TSQ7ybCmO6X73wr4A0KMgYGnquilzji2cVDOTmfyO/gfOCGdYGOvitUebwyyrAbPCl62YrFTmEAjD3TPLS5+jR/5eAYhSt0uoi3LKzVMeAvcbXbQ1SsRh/p4XtFUY0Qx36e7oFthwjnqXzFHG+o/VaO14kJCUPWlWqsAoq4/WbplM+JxEeRF7ZKFCdwJAipjup+C4KnshjJNY1sxKNHYb3h5Mr0AfGQwU4G2bkdr3rvHLcb+/Jo9p8b5f+UyWnDWpdDQG2yUdmYizVYMJJybUAdVTw0zy7tCRSV384AGUlEUZoGnVWe39jlniV/abPYBmTgC5nDVRGjJWRcbCiABfV5kWjaPPTM36JSLEzwknzbxBqL0gwwbR2ngtPulwI2YT/U4bYvMbWK+oRNtc3uabt5iqfYZEtNjSMEmbCHLjRchUxJkvAWW+sU2P+CpND1dWAb43w5iaYZ/79x8AH/xvzHahfPb6MK9SexxnAaGAq6+v6sx9n08zFep/qUcamAca/drs+q9eGkjJ883dsU0naPt5fs6loRFL7IanQqt9uC0N4DAkUCX5MnRPBhrej6c5AJOTGjR66G4+/qK8H0YyLh+J0PLBOm4zWxWQx6rNcxGcJyfEp8oCuXwztHbkqckpFdnDRsIFS9fVCxXs/VcMwpIc7R4nfpc+C6TvfjqtaOKVPPzaz7aIcjCFGROmcNlFt0tXimtySWrx7es8OtQXLzFSJzNsN0kNCvFcViv6Qqvo30LkTo+k1s92YrM5/hNCAKKat49w5HmmAa4aMQvxJepM8qXqV2MGLZlBmwaHu9S4gF71tq8WMG9XlDKpfvkItouU7NaWPLqBgdrdfoHQbqwk/9gfXaDiznKYSzDe9u8vpmnWGf4VtH1UD52cCMwOkKefgE6B5wQ8Egqje9SHZUe8rLZ3DQpmD83RyQzkHp9uVifkwvwN/yJeDxBt4XHGhO2lA2Ai7eNWw+y7yn6bKcwE6p5Xm6KhQe56SzdWQsU4DRApEWlhTglpvFKWO3Diz+Ht2T1WCm13u1pSfNJQBaoc+XKrHjlAh0SfJi/IgaAHKncu8Nf93UyIZxuLtnecGdbaRqFdmikcpVO/++7aBeeC+Vl/2rE1EVRHbDqqMYpiLYmfN8/+hmOVZKeeARL7a1jkBjJtEXE21ytVh3VZOJ9Odqhpxt7io/Wv/ORXbMeAqpeMA1epLaG7o6iFXa5QzkrtV3kLd9m0RtxAzHbxQLJug2P2Rj3yT1//s25vdduzyjAPjtOufDzOS5qmDWxPiNGQM+LLUzLYXlZFj3Gpm3Vg55tp+//mlu03bg578XHKSUXF3mUYa6E4OwWrf4iRO3iitJSvZHjEBFSY/GhVOfcHMisdl8uRFyrupjgJG0cApKDsR+TnjLroOJKBISkNiWXuXlMTlkNYsds9muXFtA4YTdPF9HprCNg3OMqW4fwIZtE46xOp9PERxI3W7QYPqAjKtDtCg499f7SB9bbKZKBjTMkX+x/dB+M56dLuhNkTkiogxPrGhIUmVZ1CGCrPZ5TKcos06NNghLFpQ20NqS3eC/clXIRMapWXTO8B0TGkcY3hLDMJsCiVoN2Z4KlHmFX3H+nZxd3iTt8ppVgXdnST+fWQek3cFQX09uTZfBmPY+w5l/BdIlrczW4aT/9Q8c5mscKd0YieFigPzlVgd9Kx4l98eKI29upqVvUfEks2cpSiB8Y8/1HD0Be12VBwsPq1J1xBSB+OGXpvgvPzlVrmHfOC3gZgyv3VRYWJ3T+IIOWQhm49tpZgyL/mSSwjggOkNYBS8Cz3ZkQzQioGTs2yn8Szwva8FRenCOzx2GVR+/KAy1sw/1ThoIVBQCTLtOEWqlnQt9wGy2jlCOEvvtSTfLRpptx0YV9LPfLWNWlQ5cecPpNTq0xKNJQUiTJ9NduuMktBjPqodG4Kcr9dBCLSPsfDHNcQhv/yJLKVBOQRVPXjC5NjjGsG0xWbbCqAjOPQu131J1Fyyx2GS6bxFZhLB+ghvAGPRAbTtg7B6jrGt49LkIHBj+htfFupMOIEFbOxT6k66D+PfyDvenl+ntKGJu5pgt70VkPHLhvFsuyKvKDOb4lu+QEcyt/BthgKpkkw0w2YTNeanOtLgBDpCTHf06j7L2LXjd7G+GWgAJjAdesC+YbEWtEmp5O/Ny8Q32dLlFYdRhL+1SOxki/AZG8jQlLTaiDDQ4I/uFprgFrFBDCoN7Pwg1pdfrItv557Je+jwdH7Gm9Bbg6Pc2Z7ePxljjKSCxS+2lGrOpie4ZQLrcK/prtr93Qg7QyzX3Lhxabo1iSWBNM0K3lL9/OdjoHm1mT/2X1h1oL+GjMJ7rbiAFZEN/ySaFiN9hwzexiNseVFD4lb0Mg5WsE75TTsVqz0UPWATSfygbaL3MJoey8U1q+wXoGn3XD+gih7yK8tBeFh6BPv3LPXVqhPa+kVIkh2/JLjKdbex0t1+v8CAs2+93oxeT80vGyNrULBqx+Gj7VU1d8ij6Twg0acNWntgrBJ1R0FX59qJDfIhlmXUN2c0OSZnRZK/ChCG+z6B0zs/QgDp1E0fcWd4Ja7Fft23cKSzfU4yg+NmEdcg78a94YJVLbbJho1vHyfvVCV52FmOdk3s/OLgGOZ8Tm0cbI3cVqoxQaUYlTPVExBOO0CCa8TyInJsFebW/pm6iZwHsIRfMq3Dpc0mZjSW7zsWjts40nTNk8bE2c0+vtCuHM6BuwQeFxrRAjG1HKEdvFVFRCEczQJLF5u7clocKXTJmwIwgzLJ1YmKjxgpuYY9MHwCs3t6/RJC4Ch/mUlsonMvrFDLFYYdGePF5srPlAXYUNYNo5EPe4Co6/s+4a84k85gSwtYlrCASR9SDqYEupawC32jrmgltTJR2rZ5KaLI9MedEROtCd3NlCYBO1k7OEB9+Gq3wfqcRPuYyJ0pIPSbcZPSvIymG6GEkDTlZgh96Jt0/sHkmmCrkJucL5ARyqE4RKYg6RPFJCYd6SdrvDDFaITQioPo9OmWjVMwvubdi3kkFCVPCL/Abawl/0L+sIKahT3fh3T4vw9Plnpb9JO5Tu6C1Fhyvo+XVa8rVY7g7ICzL3hoV391/yjgTAE2Ug3699i4jTfPMFlJuGaLJ3qJO0SCYHkrab4oLOryPmoupaJOdP565U0ApGi53N4zncINd9UGYiZmelqNifCwy6hcmM0AgOzvwWdumRCJ7xJCoNaAGie2SM5EUnq80vKRgciSSQSC/k3RoU7WhGO7eO4NNBLsAG6BSU+F2qf2rjsi+Csx4yooTBx54Jx/CUYOZATaDNW2MBDZXUyl51OZNvdJyD1H4JjxyMqaivTNKmywT1wBtMCMsBTksSz8bmCI0eYsuCWJimJyowMMWDAiwSi1pIb5tKmaPAyuycdMHg4Njvh626EnwCOkyqToLEJBUjshKrHf0ahVMG9R3siijCNOsIE2EQpIpr2nChma9kFe2Xt6Sm9L1hCmXRykpucz2PKRLdEQ17ORYANsssZ+vrinhgamZVS9IeXrvDT9nX8i1XiIGpmiyODFAPTo1y+hgnqAjf26DEnzR+F9GgZIW48rPkBkNl6QrZnsGj/GrU/Z8IWdLq3wYVJ1dNXjiaTN4aL3qPSBhCXvxr9Zez309JrtrA+BknWcg8JMxUJLPCVBDh1vRZhjss9ezhgRqq2ldoMxO4MR8iLrtwdjJkel/zjKm/Ult5D8RjL7zXxGz55KzEhx7n/oSpY9nDgWXf+aUkVlEkbRvOW7hjjFORUlYT247XxJjnW3P66ZxqoDcnPWWxsDXFBJLfSjyFSC0eytf49P7a8KVwQSsRkRm50+FXKFXo3WFG8sWeKMxC3d+ZoaLZOIHgci11DC9qkBVn4ZafhjOh4mVWNaije+zt4s6yglHsU+YN60WedUchZkx+tA2jdPAyabhXAE9Z7JkzX0JIMIFz93XxHhibWigpKuvH22jnzkfczfoeli+cvIQGCc/T11KBbDr0lAKs9vNxgmSAn7VBXjYX7QlxfiaRTVbNnBKEx1QIHUFFruP9g3Qa+tXMBGS1kH+2npfkT4UxabfY0ektcpsoBPgjrTyOHUVFL1bHD4nxxfXsDQKGUUSfbyxvG3cJYnKIr+suGXi9n4naN0NdQJ42+66cNCkXS8M7nHALDK1AHezsQFx7mI0fG0ooLXueVdTcg2m+DYsYmx7vDUM9NJtuAQrJTiIYIhjvO/mwhXQBfpZbRF9MQgZQMgTiTWWTLtB6gEOGPJwwnP6VNke/9pr5N9VDv0RIRYyugInWf6pyyH02Yut6rDhnmInHiQbYd44YNOzMuH9We2Aytm2fgKsCq5liilPWEjI6Ti+kjFo73Uu7VntQGbKbGD2w9DyFN3SYzrJcSNYtIcjx+uMb9DG4ieC7QtWyNdQH8QTual61N51etfQwJiTrismBQJo/5ajW3jpsvA9uiO+TSJQQ6j72BQ+qgJ2swkRKxKnLhaez0DB77d2HDrMkKe2+rr26R8XyyeKV4i52w+/J54vXIDSOaDzGdlW5i9El/qvxrSyAY9gnwVBDLodU72BgPzmswe2XqhD0nvDG11UXmJ7qZ3zxkX/ikhlYLHKWPBVpY2S64DtYPYrIrBY5pFV1lXwituHtOT9tU++puLQadRx0M9O3mlBRUdfCURWXmQqT8MShDKyGTWiHk2/7dsTZA/IVpDXgJfOF2Js+NI0fBiONJ+6TmBQTrXAoIJEe7VHdmoIUFMm2N8EYQUzGHBkSxSso7Is2uSM+KbKGCmBzdQDcapDIuj0ms+NjkdZB+Qr/3MUyNHvNIQPppd3Jad8aiVY7CsynF62nDTR9oAsM3ZicsLs6e2m8Op7nGuetbMw2TiXV3GjtCztWkqnR8eGVGyEez9vI6Ex6XxQKAK0Nfp+y9xpskuPbOyi0L4nBFudmcpAmnWP1Ac3nXj/2DRLHUSOG2fAL0yttw2buSbGGOsz5yB9jO1mJVVw84CT3WqkkulrCW58HMd3KOJnEj3+/5uueIerHmHfwj9DpDBbCzbzmoQDPIEY93PtrCBmPLtRiI1HdMvf4Lfop4x+BlVwoFr7qgteCYJovz0Dieb/T509nPICaxknLwPbfQLAjY02CxuBFMSa4Xw/z2hmezAQFdoHGbbfrOcp4rJttUQ/cJBu2PMb6tYVs3FWkj3qb4kOIE9a25i0Ogd2eAsvN+TbV0q4iM69FSgrXWclFCBPDfflVtbwteotxR3RO6lKQdDgtff3uHenutQDPFd5HHESM+Y7EaWuLnPq/dBVcX3apD9eCLn5BX/E46+GhiLPg+Q5nicxLk4reDR4Cn1k6rFrkyeWmCpy3uzdQhLdlu+qq759Dy1151viC3OmY4KzAxmeNTfmaGHRa1nM4uB2plU2zDvOw5nnnnBWb8kuPQS8wdLZu1QUwYXJ9O6a51i1TXcaEgnUuo6T7fw4SbVdNACLk8ShBeEVy2TQ8pGc2KwIyRLecWRxtwnR6guJqN5EMv77OgiJgFE88ulTfNdJ8YbD62GcpE6Cuj58Jsc6CzSEJ++mYoyklpp8cCLaSSgMXFwlYhlHAPQMSk71zP1MqEExKh4tIFt+6/qDKidKjTyJ/Ivj3vpmpYTOjDszzwlkN9fqmSdbrb/GzkEVt4MODurksEBuOaBc/T9USKXJGgkRwcqi6s562B+Gzh0oFT/ZwIrPfs6jxEO7GxP00z2w4WCdadf0x0ZcBfjmvrkQWQO4DdxSv9GPTEg9uMbv0buJ7w6qMqMpnLehoyq48u1C4N6kSdpRIbpw8/viEQL7rOWmfrDvPi0DIDlf+IS9flbZCKNoWZb3vLjbZQ1noYwl0zelHcrq+IK9bVMffAj6CD3fDUOVNK0YztnXuQiSnQwmbFD0AjOJkv4LEAlbFPvYMHKkMM1JEM3UJeeOcWrs5OXgqyclTuW2V1pe11uuLAF29k5jiS5pBxAKi/aCGQ1AJiLq9xWBFhObW/oXwehXj7G4k3kj/lelZMJIa1246iX+DkqWZseXUyLSm4UmyiBrD4WeiiH8/liqj2Uir5sFImmlnQt5f4mG/sNHBsOBylg2xCxDDVOrLvAqiy6dWvQe37WIc1xjEhxAgPIJrBtl0LbbV07pBbMt4HMXiZIK4AgGpr/gz9nZ+To4j3xbQyuMLR6Lezg7S1HhJWKbSber1M8AG/jlZts4TQq9kBaAyBHRSPxGNbNqH4MmwG051FzBT6AokiUwP1SKR5wBKvJLawRuAK05LIkyDAgb5leTYhqkynl778UMCV3RyykwLIYjTYadwNY0z7iuysCJJpUn8sIsagGBOXQMeW6mXWn4Qba/FAroXCiGssIMGYx+Z2fgt6Xx7+ExoiZsqNRJjYzrBoJCtnjPoyzy3Lx7HpPqftk5ItInXh6Pf5msqzSqcKKuBHND5CuDQT527KPkqsEeAX7ZirHKIQmSoqKOEZRC4sFPvTEeo7If+oCTmHqtpigFrbC8K20yFmlXoo+KDvjmClgRb5uKY3HP3e2k+Q5RFc54cnNrKYM65aoWRGvPTOq8QfLsta5Bc7bMr2W+cju83UsPJxZP+hqh7Y5N+2Digd1sd7aMMWUsmUEBBwnx4eUP3YjquiHefbmzCCD4U0oy4KiBmgDf8utEiIsBsTdjBjZtep4bNYUK9lfpRY3gopgbmmyEXFgF0BF2mIUa3Rg9mE/w+JM2xUMZR4VwLPYii2Xg+6e9kII2Ri4aS9mnZRBsWj0wPrtfLCG6dYlgLSk3Yv4pTNuakmNXL1e6bJGXi8/URYXseKg71IXXevfbBlXsNo0rrlarMcMk6rofAhp8AN6tktOEluHon1JrCrsxrbTSWv77HNSN/SuV6YAhLGpnWyn6YDrrzfZYKA0JrQWSNnunUMuTBaBy9/8lCHZkB62QPL/d5botGv27nqAFdTs6oxcpmxTbWns1v9Ux5p75twJOmtVykUNBxHbq0dOYYG/3IKfd6N3CP0cFE5zH2c+qc9WtTMa0jl511BUwR1ZW6hp37opMza5VER/pHbhawZi5nP+T3IHupV6ZtB+cNA9cfDgd+8A6DFb3kerpnS/RzjDo+KLtnqyBwI35VrkUPqYu03/lnx40c8ZAJrgp6rNkc93Bijf4MRQCTHoR8dLftgBXyY3xJmCo/t9Fc+GJc3xhJNdgO4ZhMJ9wXJLNpRgHr6YtQrSIVIOCVFasC0vemm0GI4UA+Obb5yVr3MH5Mupu2dzaxP+XioRvPJrySoCFKwRtWSu+ZQPzoCucPjG/25HBcOKbsBebCP96bsmDXzzOGrd1ZdD4eq9co8nfB7vT8/BwLrqfDNNPH6WolwMFef42LpQTMqdRESqJ1A+hqnGPEm3Krxxb9b0CVXD1Y7oWs5ZV0qTsuEoQ7uG1RjRVj2hSXsLh5+u3pyUWtalzknOHD7s3XalnIgNXNLlynkIXjAXFBfCXJ3dHcXm26ajPTEgrsiNbvC3gVKTnwnWQXQn2O/ofTiAUe/aRkRLjS+NUzrxesmcDiRV/xdaOMzhIkxGz6m9D2yYlsl09PHW+RiAb7z6qGx618HS7ulOBhMy3R1CjlXaL/go+ibfUB+RaJuKB8XEWMVBn1NKAa9vIKNexWg/UaoARk1noisFnBd/hoYe2i5/kABt+Yv5cB+pDGSAE7m179DDNUgD2RLF7c8+xxI/VS9xxhTUEd/TDXLBDUa6Z8KZSG7tOjLe5PFQHcuPdaHrMMJSIAAJ1suRxR0xCxxwdsI4VJDcBZJwVRDiki5lfpIyrh5QiMwo/PGH9Hq5v2DiZ0JZvM38QNJJdfKFGWddnRH0xdv8xDRfHki2yiDIC/V09Mx5MXrX/bhPo2yb54ZtohIK2m0VD4spbzH8rkI6nJ6G0YJ7tQ5vDZElngAllfjWK1+mNV3McZY5kQ8Ox4+3LXe7T16bS7cSzutCBtXRouACHwpT0HuDj3b8YnHeUlg+RSdSk9l76dAaLsqXyfQAvUCpX6ybOeGhy/9KaBbzlvbSjwhy2XS4uhMQJA7qsxRNOgl5xSL+oGRIIH0Bf1poCfrDaEFn/0ADsMtmBwUA1oInOUKgU2ioeNmuLDrnVio3KCLA6QKXvfUN8Bg2kgFarroXfIhkFQShRyLlUAWRKGGxrExLNieTAUHgOdX1KqgH0VIYTbsrELIGrnwqLJPBW5jZHGSGSdyd7YL3ILlmyGGc55iF3gunyGYCA9DcHMVd8//Hei/JokQfJ/HCzEMnVUGHRv2l1kQQIdgtRW82i09970truAV5sUo+F9i5IiYpMY5zlXT0NSK5I0ERj2tgq+YRLqW6dHj1sAvW1ZuAFGB6s9iJHhgxayhMCeUSVO7xgNn1MeVT0m+3onzy6HoNsZoVx/d2DcVvYHsdDXaL0AiOde7qUvu2qzDS66iAOXrvj6r+oEYxn2TS/U8tzjEOE0MUq3rk6qAtiqgdV/T3VmyTVZkLm6ScizYnyf7xBAX10g9dkajtG5VxzL7LJcTXYewzPGgkVAWt6Ild1A6dXnitkoc9VLODtlnK7t61lfrTpc2Zz7VA+mioR+Z4jedhAQIj7nRnaON0v+a6CINhVxrsqQEhJCNoLKebxucn5G18khkQLCn1Yfynbhf51RgKFqaXAGTsUjkKXiBXn9R5ypSii4IA1MlzG76yFbhZzDZFXpM6xfSlzjstp5lYYGTzQG8StGsbV3wk7zZ55n0q42rHND/158m2xa5+1K0MJlDtLKAtZHxVM2JnnrFruifr2YJ327d/0V13Rq7enxoXEM3N00+0Wq50rvOF/wjb2o/dtLOHB/hNFX8R27bIOQjEUgskHhqspDWSvyYagNUMed0I7tmFAVyulwPeno727Cv0ewRvnZclzN9lz25lvnSGYROL6naM3NVjQikGzAY1DSh4C2kuDu30jmeyZvcj4GP0Wbz6YwvLF1eXkIqSocchdGvXAZWNJErJY3ripajvaQ5/rUwYUCUwGbjbIK41KiBK6AGns/z2PT0JOnWT0P9RCGNPa3bykcCxoHDfm3G++zhnlhaHryotl8CyZwLBUYQxeDcfWu6dFa62laQ683cKUIGuXNaVPVAkF0+Gel4u7r0F3+qwdA++fhxUxH3iM4uhJkq55a0EGyEhyw8/IaHXcVXjDdBY9hdHocjK7XCpyvTvWjvfHtBRnbXpOmR9dx7UTt4tc9Nf5tSDHkbnIhIwQcv9uCZciSxNX+OuzHAQt6rPWDT5ez9GNyj1rFr02vne5DZy+egv52HIDhqhnenv23slcgDaJlO0pMshtA2Wmqnhkwtl6HoKZmRCJQrCp807oGmkhI7z/GhjYpJB6jCYWNisQt5PaDZU28fkdzxrUvFy6IZA+CRMjHMKpPJKNqhNBkkJfC623pmPpm40UuBmaBXjeobJMb1iqc36qWKxGkQUQgHK3Dex6NR9opMqRbPZfrlGNnWXo2iqEs4dLE83ioWoqNRZarGwVZxHlwlBTbfPnRGL2e4q0T+B5IodJyqi6tnE5XliFl3aWpZv8qIU939cVpoLoqD43qklLkmobBf6cVxfE6rwHVL4I+8/WBVBJ8gmmQJ/QmD6JOI+sDoCFANihTm5UmAlYnK8hdQaHXaSACyn6UP9b+yLhB0zJrzsNG3Dly7osCfgpjIjLV4gWWx+qwmGLQvzZ0mXFRQGFZQxtVb5FAUBnZ4RA6mo62bqOsXO5mRngsN9cIRJDrCJ3rLp3uFyjAE5Z+7LrhmF6y1Z4a2JFc1HJS0hY+qKneHd01C8CY4k17eY7D06OQcIy5OPtrzJIaaOkMVs+y35sSL/MJNC9PNOOAJpYTEb0hvpQ/d1bCsH1C2BsVjpwVltY71ZNudgSnDZSD4Ls4YbYxn+BIq9mwNpVxoZoUQRwZpS3A2PKq62Din9nHEcettLw4n7dScayQZVEwqWBDEvWFbACW8sw6UH043J/eF5LCFQ6EcscVhPFqn0cheoPvI0HO/AiTdQ4b5/iLBtaD6SFSVty008Vtvh9TS8PjSivDQfLkFXFiWzoE8KozorfNNeOTIfl1LzHYWNCnBhL1MmqHxPQ2Y9XUB9Tod5a18/xGQ/PHFsEDgjft39qf+9kCKqBOqL+cn9NAdyJXpT9cP6e8bhM+gMEQtBaAW75ZNFZgGwY+5tLioD9oyMgctlaZs6f3gB3l+u+bN/W87Vlg7e3Jh2YFz8I1ThjXH60Y5yEi1mvrAVvxdPbAz4KGDpYK05XgFDxZ57oylXGGXxtLxCaYH9uqH9LDnG5pJSfjFv4qq5X8/uuy/49q6g7tGWD0Kg1eEBG9wAzzFzQY6FCdA85rQ05r+duQ27dbTtNuXaMhjRUn3b0GogcLpfneoUF76m/bfy33FYprG6tw2NRvwwAedpVbSAbExKQ/cJYPuGYToCsB4wD+8YvPeUJEvK/+P9vTcoKIVqrHcKVVd4zs8NkzgWAnQx1ijlWllZmtS69os69773LsQKbxFFJtgGCf383ldLeQhR6IJ4ncgI+6aUAQinyGyHZeRzeTh9GQkWGRjKn8cJstgKcriyYF9PohmXzPXRZGTMXhp6amiiLkJ2rmx9yHu+tt4hSMDACskQlDWQ6++WLOyolkekGrVMnvCIKMpxc123aQmJQ5mNDm2MnNNXA3M2TpIONz6mUNP+Tw+ofOaN+8LpKjNbVKs7cTWzNnlRtTSEPaiXMiw472aTf4nrAdFjvl0h82+wjj+HTWZQDo4dV7+ewaTAca3olnYJRu7xeH0ntpi5QEmn8TfmbWLYB0CMR6kxjMDJu6tJ4CvA8N6qpcA2EhacX3zyaHESqoVIclPwRTBwEhk0ae7pxJk5wc9rA7jtK18YDRbAGKqi7FTba9r7bl14iorZbo/QJlt/ZdtVM+8VUOBqdkZmGkIxFjOAH6vhvoS3UOOjSIIrYAfsX0dpGqKXTsFjtdgwN0EUxfdc94lUGuwgRzgqbgoZvmaNpQ+w2WaVO/CFXd8riI3nEPsE97MaJYA6HIDJNCiYvjnT8mI3mXigwpG5cC5TZlQD9faQ1xGPUoe8L0VRyj0M7jDRzKxZ3oSuyFyoQs+efSlehtU2/zGspHTig9oFCV+k5kAR5Ejl2lCePvnaoRxG6BWITbe5oIdiQNKk1FjJM8Br4I2HKMQpeN1Umzzjw3ZmXtkyq4ujckCDV+EfdUmgnjVgTdlTODj792Rp220Nw7hjS9gI41HE5ptXjc8ww7UyrSLnpQAFYgbSotr0cnPw+1ks2aj7HHCFs/rZD54NpHDBYyzJWGBskB4JOyqeCgqiyHB316LBMqxvhONI8rW+Ev3Z+z1isxzBxTxnTxekIJJEZk73JgrlAKRTdaLq8e+0a9fUQrYRNGhOkk/jCnHdmrtJPeEHGYhprrHiYJwQ5l/nvvinWp1N9ABvmiBcx+wg3MjhEXB8AaSPBPAntMcThrZu5mesjfd5qCwHMTYC34mDfCigjJWHEaLRNAwAZMt37EZ1rNWYO2MAZuxqmJbVk1b17ZoZZHgq7vDVMR1DtDT0+h3pkKsGI87ISZliWz666dfg/ewsZL2wYJN5rPTdl/wi1fqy9tYihqoAEgf84wegV8+gWDHFZuUnQgOA+E4oKIzNGytZV+3Ce1zm6ZD3KCmL60+3r6QS4DjEEtBTdWLSc8RUYuIPyJ4BY9G9fYxI5/ZhjaiJglIIpeJQgZzjmYxG7RgzGA2/WsNPo6f3LGSXyZL6HoeGkG6eYuoVug//W3gXvLeTEex/166xd5AAk1HfcYQJFyyGJak1EnDHxJVvtKbW2YteSB75oa9xwRircq3LEKD6iHVDeQKL/47Vqp3N5beJpmtIZTenEW9Caei2sF9TkV/CFOaU/Emzl8lcOqLMwummtc9hpHvgGAarmJD3DJEzqVCTDqKipTYYaCy1xjO58vT/DpVZbVvUSJ8FYOPaLwi7bQsaJKmGnFTT4J6l3yejwlQcftmn3c65Letbtlh5D27//Hp8O05DrV4GQwrgMJ5Tf0bcI8Z62NQRRiF9tT0OdgDd8RJEADA9vR/w2BV+1wtEu9ZRK0sKbE1wmaxYMxKvAqK7NF1cz/q/jVnLlJ1Li4BfRU+p6ECVxE3A+xPXkx7bKMSuPrQ6G8eLhr6lF2LAsvo3rfcs6z9AX6ywnG8DcrXXlBqvYgEOI8UXVmqGU9fQmj9M47RUsN4NtDGotWjXZF62hiMKAOkN70eOjwFRfovU/8NgEWcDyKKKWK64VGyCSJ1ydTPAks2uMDk4VfhNlAN3YvjqXm1iepiW1mudn6J2H0w7f7jeXgz104013XP2I1R/lfojLhzlGZwSF6DofOZOH95UW/+zf7u07cF+ZNS9xf2anBXI8KqGAAMqUUuvHd4i4YcHprf9Stngyr3WH//Qi/bOBeZ3LO3+6QqrT0Hv6V+40FYc7y7ApGsIDGfkfX87lnqidzeldUuGJu8e7yujTwmFdUBe76r+E1+clzM97g/5IP5MiwWE78VD6KynNEkvdjNOPG8IXIlIX8loyTUWNMUSwkS0ZKh04iyOfFbBnyGAKsQOgAT0u9kCFSdTZs27bY3OY9KbikrDkQWy4lmo8DVCdrhwj4jLn1gQagNfyK4uvtzM9gt8ixv7hMwjRqX/qU4pSUcWHBPehrOVmS+Sp/3wiioB+oisVnb3Yotgex1Kmj9j5VOn1kiplcVla42V5PBYV3Vqr/EN5VaHw6prUUNaiyhLxURYPVXN6wQvkc96bGRxrppqCP8vr9oMTQvX3MwOfeoCyQ4BtnzxUT3DaWaYydU1QxRTjgQ/S6ryq2wckgEFawJpqSq9jQT4smG/dKcjKnkoKIKJOTImYiCw+vAgQkuiq2VvEHMxZ/Rttki1L/XsC9r2Xa8axTus+gFlaEH6up3dAN/jggnkjovoukFmzpBY9KI7/mTdPD0aze5pRCqlvVbvkA9/9SW+Batn9Ob32IjzAbXqilOL8MPPCRGHK6oibLSXxA564hflA2cXpcvJ8FxwPX6T4bI3wrkP48qPBGL668gGBF/RNcXqLbxLPTnNHadEWS5iA1l2j96HoNs2UlJ6+rywx/Qe5VbNmbsFhzffYE1wRlKNmV0bcW+dicAHTcMEWtrzEhcUSZffsNbatoE+IRm1rixohvmztdyWbdAXm54cy6R4wKspvjWGuid7+xcFrBxlw6GT8EUzf0RATemfT/dbiacUlP+d1+3UEZpvzDuiT9l3gSHTnfvKmDH3FbT3l0hXR0gZ3FeJBed/InOgFU1H7uiNMpMULXZXVcXqQvtU2SedGe1TW8GUTKEqH3i1eGb9WysoYNZZP9013Y298uf//TpSqP2k7BtOdDOorkKHXqJv31anS9LpGX67OvE6euu/Y+EZi0ghbjCOs3iqiIXeEM1xBS9OPKvvfAkGA/+cen5jhF7S3ksPWtF6wqZEV7Pl2GvHk4WvfLG2jQ19F2ySugGYJ+xCWyq8fGtpL1fNthabJt+07JjejbftqCFWgB4VmeImbp545UkOn+rhxq16+RfiLl0iaYJOT4j0MaqipyU/lwsy/Lvf2THNc8cM8r/Xf3pQiCZmtakZpLDrMyGACMKld/vhtplbbhJYBqazB51H6MWtX9+rePk1BuUbA0JBbPlrFzy9v7lyE8HxMrmLtjLBcReNTMUtSJLeQAEixHRSaRCRnPomVFJ7wrdiqqMggiYPuHBxHaQji3njJqF3iBNwJvfo1BgtxksL9cDJSHuAcvsV81fGiaMxNoyec2GriV/kYcu8aVO7NuWhfu3fyprmAs5Vc6by8e2TqsMkkae7tjTAFRojjGDnHFfTR/7dy2378F0Eo+/3Z1hnr4PtrmHWre70KfcvUnEojkeCfECSJADcd2+lrpERRwMCKpKGHOLUWP581H/3C9Ov8MtN8Fm8DrVyenfaiKMZ441Es+yDtnxBF98oTpwENtUF0FTnoMB1AmK44KePWBJB1eVzmnPKLUE17wOHEvbXtUkHGDYM3QDf6SbgkZWx4rLYOuQQ0a9UuEBJ57Hn7VJiXPD61tFUQlOtZbvdGyB03xE0hDPi1jdZlq/BAUwvih733VRbRuc0mzV8AN81JKLw/LpYmA9JuAj4j8BpvjDyo4FlyP+eJg7lWxeuYRTyZI8ybMcnFUl1++EVrFNhWLIHzsCTIpRziGhlQ1LRLsNCZfbMO0Y7DYxgJtPlW9mzdbMz1Eqk9sX5Zj3N4MWDt1fsy1GFCuc5xCPgg4zps1aqf5Nukn8AI5KXPCcHEDyICVdyn9HbmcAYVE7alnaZmP9Ac8OpX9CgG/klxSMB3I9+QPOj/NzDPOf11/kpc3uV7yl6b/ZvDqqUsZDjTPBXAO78Nn08e1ANEf9S6qdIFdK4KH34XAPC4dGqU5UBI2uDpiOr7nI0r+NtMCGvKoZtaCIT4uiRKiOBGVITzBLFBJdv+HT0XCGGL/URE1inb7jTT3TeT1ZL/uREIMN5RI7Jjt30KtKqH9JvKUA27xXt8JnlgjpGfGWWrx/nC0H1k01rTRogsOuMiPCr9iWaZ9AhYkltl+VspOr9ewMf45Z4RlYZAn8cd20qSBvt7zBCXZJD91Axq+hg/hWw//iuU8F98VLxv+re9tMqiEm6OnrN0v6Wd+1ONVoogSGHG4AiWmVq/+gbzmXqXYgGawgx9XZsPPAjGUMSl8msXz//Vovynbw8ZpUbhRqqg7IZ/Rr3ZgmXjIJIVGRAv07FCnHSCFkJ216e8c6wXQA7yLBGnvXROTcGZfmaHCfYbp6UlxXigMC/EJQmocW46Xzmm5xAD8R7A5T5ximkKKyG14Zdc1bAuVsVaCgxYkSKHhjjWEUQRHJJKwq2SJaHA9Vc7OT1AdlSqwpCUc3PTEs1UBcWfEJAasPsDNvfII6IA28k8gUX8n2RJxy1soPvmapHKwoaj+acGDWU3863dzJRSea/BJwFduZwDBMSjoPGy5jdtCcmGHQl/8kR+HPPJ7dHB5XWkV+oCgv3WGgioP4Yh+EItMhQw3LNsPpdcL87OPfoxvdX4CbeBkxpWm9dMxMh66OcLNJAMqD3rYjKpFQlncFAV+yE+fmDG7cRRJ6kuLX+vG455LMLRUqCAjf22YJcYFmc5SOT+YGoVN8WQwkoE2S2UPnogPEN6fzEPn57qDMvI2veu4kTiaeFaA+k1kSc2QLZUbaq6g5irdog14iT5ZtSSFADiNV7EU8XXfUT7dkY9OnBl5luHOdaFPf9f8L333Ozi1W7r2skGQh4NlViVQ4l9cwenqal+myvC2MjTd4ajX8rONItKVCWoDOxQTPU+EgE6BuY0Yu6rP5ln1ex3Dn2pBLGjZuwyFFP1RI6ucT3i3wOjWKyM2vNvjksc6rRuyWoX3P/yysS5UgLWJsnwsx22dYdAFWghEbCeEX5kCXF78Zbll7dGkgNXHZoxU0os72PCmHTnSb+gOeNLxf146FNr114KkgP/nKh92rLt0b0c59dEupwe67/zw99nz7QK+fQy9NOUoTK56qVzmZYMN8cMw0zP/UYUh/7ycbYqCVhhTvhy08UXKySE/jiGl/5JxBLjT3ZogwBiaZUHofx+mOGoaT4SqIqUajEKfvKtPPHnxlJGMuFvfvrERALzkcaYbibHkO+k99YTYjwXTWp3UJr39NQ3L6OBUq1nSFw+7kO03XBdAX9DWq+H20sJdE9eURF72/HjzPZ8+v34rFqNofAm95eFZVZhS3wyDu7QFS2J8vfCgBgPJCIY2GD8vEpcOCiuQ3SnMdMvV3cNwpOdzNTWVuXrd4h8to6zhAjp7HWeLR2gqhKlw91hdg84pkIk0KmUgWVe+A6N+gvtYg0MWVW0y742/ZNVq8ajMVnYRBFK/erhJ6udnqokL9jb8525QMhbyBP7tkk+IEPk93vxfO0YmIzLTohl5LbXxq6VNga98qiFRmzTwH/h/nrNpF9ED7ADAlkVdCUmp1yrEueJfCnlVyaOOlKILucN1vV5g6OjO9mep8eFVmcmZwANk94HhQQUugaO7HEArDmENInUMvMGEbRcvfoHT23BvKr73VzoO4DWMs/twBpqeLSakc6Nldtk33I8aiEkGVSMq75GScQX1QM1HkGywv44P0vTIgVNu2AKBgg5s9JL63kBnaXZkmSgn2NHIiGB5EjUNKKMXXQ00/g6PZakYNpRao0s678NFKLZIEF1DT9s6bwhTU7IRKYUMgk9w85KX4PbtZD8XN/Auto7ePigdJY5JEfLwV1muKAE+v9IdIF1B7dzJhDGlp00IxLgMoQvxTn7PcGga/PCDiYCTHt2mjf3LVtmXYPOMfyyCemItIG1mijOTyapb73GDcE630+O0WN52dEUi9gcNnxb2vHmwVMFc4Lk22TAG1r8Q0eyN5vWuZ7pFJlGgtxUzl1PIQObukWYrA/D76L6Np92nj9dPmaeA9cPuQbNQHUznaD6lfTlZxTCKp4kot79htoUL8PZ+j9gbyy8abgJv6wwYyASAA/tbe/v3r6jaKOWt/29+rOIr/o3NslgiagswumOc7qAfQLrZK+BUZAGMb3h7HodR9uvOCv3EnkggzQd2uDNLwC9KDoy8kRVI/BKh9/zJJHPMUPqw57ASbBbrKiREGHUNB3pOLCiuVt3/yUrGkX57tUTBPR3oZ8wGKk+Tq7vujqDNjYFgaDEg7QgaxTgDNCdLUv1H1hATfiAQfDyZSAkvWe7FSNZdF/TMDWGLzUc1GIJnkcOeAcSXXh/otkBmJrYXKR11stnhNPvkz6+Xd+YM+qjzAyfp5nHoI7kZpV2TMy9BoxOshsN6FHD7ex7bD7TH0rGPTZKKEqYi57cZQqjzrggMpsG4hT2jBoeyabh9mgzcoe/m6zhhS8sFmES7DTBzGqcNjUVI1ma61ExQFe9DBt9whPFF0yd7tRMuTNiId+bB9GDvq2rBteiCTKT0Wg2czKYtTamc+G6xMBJuTiotH7mrYAS5V3l7MqNUwnI9iAw4HTIVjldwM1RZPx4kP6Ajask/OlxIrv3mcjF300xCD1KRurr2IfBOMzPfr/KGb0eI8KzLpF2ilHjEqRXxKzZ/XTNre77JjBUda3Jx57Grl7EM906HLjC2jdvjmjNtHSdBy0mfc/CSK6HXWCFffEeIjwu80JkSCg8M0dugajSsx79SzzY8yFniv/3NoMzJc3oQF6FVbeU4xE2yxjWxE/57EKA/LkrA+LpWXUIykX30Qw0KUzf9w25TJl4nzJiD54lbZGlK1Iu/mcaf8Z9rpADtwhQetVFye8ZBlho6fd/CiJS0gWYFUpXOzMrefTKMN4zQF2YbAwbUGVI7OC3UkiXfee1+E257kw56Z2FH+7KRW/cbybdu64OFvo0EBQoZe1LQESJv9O0TSwZFgQ7MzTbYi1orw62Aijnw6TLWsSQ4IsC5N8ZQkgVA0wkGvmLVTf0ZgWg5gyTBUb4vPGp6QqjS3o1EgI+p6viAWFqVP4Ke9FRX+R2xxQMQsKj6EXThuCnPERcL1/uaa7JIlScHlZF0kHzmkNqKn/0BzdopBRxRCq8unBnCI1G6H57uc/3LO3JgR7QTSUTxpxCyMK7BWtlroivohLL2rRvLGXdG/013LcQ2ncwwQEHlEdrJCoUuCeaCGPNe0TbRnlHLD2cKi5JjXfajrrBq7yUupybDAhkxuNXRVtBClmDl87fclaVj49fyDnNsPr39Q/lcea6tVDjdfIx6WC7yGRj3zn7StBNXkHyHCbhWhqI7CgSSNFFrrVfEL9vu4s8Pq/qhMsN/vBrRvkx2Nli/rsbNRyGnwUgqw+Si/i4Zot/BmFRr+YfcGtffGMdUDADdSVAh7i3xujhGbdEoQCfZhpb9IhZjo0DrW/chDNnCePaB9yhEKDnyYytYZg7ddTsLJowiVY4pcDzVV/i2nUp1R/1yaOn2NPJ6bsCEWUx+IIWcgoYJNu+E2dSJKiWM68tHz76nhn6qkVmjuiWIxhsN95iIHwKBSQi/kC1F8XsUeqlLXMlgXMq6NtKyFGzVJwTPWmkmc1ra7RSxx1eYb/wq8MvJIWWOQycdIevfqnRzpuOIrl/19OA24vIsaZxJo69ATYs3I8U2Qkh45zBYPUf5ePElAd+CKpoA+9A++PsuYvtjjkfqJPyHodV3bRuPfoY4+u+w//a3zkRqaCtlNJXjmaYFGKt7lh/ABZO2k2/gXiAwM8Knpcu4v1b9gq7rZlyUDyP0v4RTRONfjmaFPZwNSHLwEWEMjW/EJs8cmK9B0Fghlot8TrYf11kPPN49SlHssr8F0EoGdpjIjkh2vU3ASXCzR0qUmABV34fQrcGERX0PUxNnf1reFeUun6qqc7jZM4K/xAiwrAcAujCoHLS+nlE68Uor5hzdrBsq+Hadv6RCxqifbnhW3aw+IIUpOPymyZddVZkbHj5RMg77KP/t0d//GlkoTyHeZJRu53iGeIhuFuH08TQfyPcG200cD3Wl2sZsir6hNiQMj1VXn/4BnjBhgPh4saEIBtlXPo2NiUH5dX2OGICSLDKCleWQ8pCfj5npM3mqIul8a5FG9hPJWg/3QJNfYPWE2g6xWodos0mxOynsY9sGvzVFgFZG1trLPWIkPHzinvakJAJbTLd38o/ZTAWl+52Xw3mLrlrpczwBRgpxpos7ZZWHZ66QR3n36hufW9qIZeF06qL/Nd+AMg8J1UKGfhU9/41Xl+6CLaerYzmVcZbNh6faszbULp7Hm+GsmonBKqrifB5+dZA+x6zLhajVRKO/cGYO7hX+BLE6CWVmplnxDuJc+TeM9pgALcW7v8mxajb4WbEBA8GwiaUg753BETDPhofBLMqz+igm3UzOQB9EmICqP0NZ75KZTSOw2yR+01BNfwcQiXuVTfesV1EoMsd83Xr9zf4dTJdKmEfCSE3UkfLEBokd+UVbVW/+xBr8m4gO3gFcTCY6GIVOdTWFga8g7iO0fZwA0SfmwAyFedkWLj48bjetUplGOeP1YOz+OwAWCjFyo0gdmIecYJOk0gQL0cxoBsQpzNrgvqNVXap1N66Pq9fln/L+20+L8W7mSoOMf4SJjcjNil88zoUBF0p4evh0cLSoh19x66TGF7fSyzsZc3wgAZqdWFR2v+rAUAjOR15svNvVf0WNfN+0fF7k1mxLKIHRPyMHQYpRmLX8gNWf9DtcNo0kJNPsBt6kkMtbfU9eJSoGYYTZuSl4R5zkMop9RGFANcpsRtKR29TNAVEpkB2Pyujp6jjHpNg3PnEcgCbn2XVfAOkoO6JMjHRmg95+5H6GAALY9E9L7J7dn1ETfe3G2YlYiooWeCbPROWr0vKcJFE/5wbppO2oTPVH4OEdss3YOQjUMFTOGCcRWsmNKOPDasGFIB5S70ZrzKwNeXq2wRGT4O38nWT1nCVcvJCrdEmjyonPDjopDXq2JhfgNDeTal5gMSqLyXdBeGUzp9lRduv3jqfuKhwXGIR1VTDY9mx7KWasUu5wbm+t6AzyC4TKFMH6/3f5PA287jSTPSlcfZQuaY8rA+iHpLmEoHVwSGJjw3FdpLcl8+C7Wk1Ssa2QV12chbs/U3Pzkx2U6dxPa+FqRV9Rg9agJECp4SZMSbG1aiQ6g9xM22u7+4vkK/QEsyjYV/lKCxN7MNkYoqN2pfQkjonVb0gQPjTaD4L4p8Pc7GI8TPE+q6UyuMZ/Ppm6RmbEsm5FVKY1jXtduNEe/15go7doQUtd7Ma6adImO3NZQ6O8xNSXrR03IyeNiZ2vxYTFN4N0l+HOfJx8c7G9YucZpNvL6g28uCvaH/G6HRJNxEl1Ba9aXQxdO5PXGlhw7XyXrzFue7wsFKRjwNt0T9dsM9KvT1vqJk19A75NF4vkYI8ztWhaP84rzS+wvSlwECbureQUtQ2woR+29sV5oWiimsoh/nA/Av6fs5q0syCRNxx096zcPFeuVivlT/DWaKvvwkYooR8rKF84y539nqumu6NDysbF1Jmb9zgoyN1DrZMtebixH55ozkzObSPdPXzd+An68utUA1FzcMg6/5lH9vVMnqZLV6B3WcUiYC4cGdSNe1zzNRqLo/xlfFnCKluHONONdJNFhU8CcarOxPVpcQs9KVDQZdx8DX2vYxFXlydADv31EZP8E9Dvk5wkV6tP5pKv2NEty4qEAIYPzNZHfSJPq+913dDZmumLEBt+9x5Dop3dzxLNCyiKfeRldtA8hXJInVoiL1oihOEp5ZTNP0qwAsQ9ZbSJgnkzBL4mLinO1BxxgBgb5J55Mc5g4eH2JmuDbezP7g/wdbWGj7VI698dzPUu9QMvOKF/7jMNsHclLTSpPUfI2Ijf0w/B1uiyfBnMJYqU14AUxHfT7X4D1z71tUtvdiWEx8jZs7DyIXBWgfh7H6+tvqWwMvUzaFbXisP9sOtGD6V7pSbVk/e9P0gb2S6W7id2YrPDrSNQr34QMofsrdxPEZXgCsljP+2zBiz0swDNX4O4VUZnbcVZbkdbsDRl5CO61IAg3LnUf/aIFR4eQPj0059BnIYDBV+ITvePmSUQH8gfq7q2fIOWYTAizqP5/RIecm7lG00bEfVdu+fZXewlZM/V77OuS8YMFNOJ8ZS0AMOWu+n0igFqk5fweaRci7zUnkMOpbdoRbG2fAE212d2AZmTHbI+ykN2IGpdlKYDxIAESwsUyTfe3Df5D10lB9125f7WB88g6C30SvWPVvGhnmeb0BtN9iRJdG9eX+oga0BIiWO1BIUa2Xz4/nBtEF4PZp/K5wmI7t7XmguzKtETR7y/MdgrT+6J+oIIDExGo3rukH33gPb57bppFBRPJHS9s5rlrgPqWccYDW7fgOn0yF0fxWh+CaqbkJTKU5af7B9ILmv1e6Zoua/0QMv42Bv+ofU/aMBapSsFEFRoR8/B8xLLED5kJnKJeXCXtl5fxq0dTCbdYC3w8ERliAAAmaT9pp1V5cziX5KFcUjUcoQb86WeKuYGqhpWntSEv+ZcbBHbl2iHnsb6tGJmm2uRJG3B3XOBSALs0bGA5lXfOQsdkN3wyW8hc48TzeUSo6HUtLfSVVEUgan5XYcMMW0Icd7XOPu6fKmR36kT6Gc+l+1MGTbPw5erjCqjzBi4jIjS39zaWrx1FNdfZ816fTU9ByueoGx0JvDkzDMjcaPIFFhDucTSY3ZWngz5xB9EqUOyN8tPxm9CbABIlbOPuj0OfYiQU41lRQTBAYomVkJAcdFe92HHfcDqyRHglIig1fOsU9upJQCFqwvpltGT1sjwbTx3LPentgEF5/zwmrSCGYVZ+uQ3hKxMWYXp5q3qOm8GKzIhl2TsABzXvsvffaPrh+7W7dAQJuZeArcTSCZgZe61wAKvQ4fA7m9oMucVYJf/1iF9CFh7thyE+ZV0EF0BaYc405N9YMTxu2hq/twISQi4sOae1bfup1Qv8pShs6s2c8v7u5Ptk4RMdL/YVG22EHdTejJUX3oT0i7tMiPC1FvkULugU5JzYbATHb8kpdOOXuf+4XuWIk4kLgdWoh7c8+RFWadwZ2fCg6YTWYDlyXhRM11CHRURme3Sw3487gM0SiMs6lfTps68wYlHu/c0QsEVRmwYdG/YWHyL1+YKFMLm0k4BD/LIt71/pY110kBQt4xBw+lKTFMcMnU/brg0sFcBKzigmuwYE8nDUi1TqSFnNm5B4wzXfEczQAdamO/AmlcXMe7Cjq5mEw0wS4IcSNSw0nlNq3pIO4KGgr02+WtI6urF4sbPbYZfpffLYpc9/EOTZxn11zlQ40h+5Rj90FXjlV3Yi0K+ZB7ebgRvDVtqAbO+/AblJ9KkpL3qWnL0tDXfoauY9hXhAi4BRJHC6AzCjazY5O1QuiQyQ0pQWAwPqjjbr/S23Eql1AYng1HBbCKOjGSS02A+zg1EpXZFTH4YwZOwHXMhsCHSmLIJCSVRpCU1xESnZtJoWdEcN+k9sZ43lta4nVjrAIzD3BEbNdtSeTqMaJsQIL/1L+k2T7dF5x4Ip1hjJjGEAX/sek2+zuwUKVBYdotydua4uDOMkD1iHbHCx8qqZWyTAG4y+DCBXVE5MrmeK5wRuzAdGZu8i2HzQ7GJ+2HD/1dTsyWHJO3oFFeMQl6lphm5q+JRBowZtoyjTeZoDQtb/CxKau2XgeZjdJR7G99qgMWg+UbksABUUAb0kgTU5LYHAzuPh77LF9ykANYCa9pmo7RHVthcA7twWIH2az7fEyZ3BoBzuT1wzL5TRBRvqnQ2xYOtEKCb5gSQE5LRxjDYRwvL/BCeOZygvxlIstf3DkfqjvybqwFZHfwXA8EwhRbcApl8IfegIiFN19X8dmKUCcOuRllOJhvmo9EKUgRkgx2MZr6vsSVASprHPz8boESM5yBFdA0ap9uhTJK7sJSPvHDp5MUhpJIoK1BAjrx3EFGaS2pi6NAedCyalRdRsmxhGYCrnvYiiLC+5S/vTPSS033dWyw4g/fgUhGLCm8Zh7jZj61o2E667pKKXUVGyUqYgW8U37ohL23TlGbVAVRF4qEsDb903xpP1gtmfKhdMmC4zA5Z8uPezXSKwAkzDcu7ZMP1+B2fLVC9Q2GqYeg3PkicUIx5Is+ov/LAJJ2JMP/g0sjRWnSXRV+L30YB+EZc0cNLu08kuHlS+9oCBlFai3i4Oy5kq13elUjJrClYNvuLF1WnRV7s4hhktnu0jHCisvfcWzQ6mK9an9gbj4FRV4xfHfJebtDUBBc05AZOmfObkQnkPHErMVAwGa6fG62IbqeWtE2tnRYDoR5a7bI0NqQnB7hipbG9Rebfg7ssFnEhvzfism3sMquj12pxW7TirPnZOLfJjRb2tc4fs4CEyqkT2wuE+UIuFzt0qiEsxjUfNSV5SDhGkJCqL1um6fG2Wxf3fQb0a9KUfgR3KfMNbexAqSgZ0ECzCQOXEXcR5PBsoyPmsClZFtyy92KQ1Tk2I1pWx9MDz6CxzyPaxVHRzdaqNnYJcKi0r4HUyqTWZ6C6xtkex3Fyz1ONog9guyV4Li6+EhHwZsf6v9K6469qudCLWx1KKMmeyKZBpVf5tG4s2NvkRI+uk2yE9Vx36Jc0g0wydTeOqHoLMqwN35Ms0eHDdcTsw+Lv82IDuKawnoxpToW+u1jX3670XKe0MgCrWyw/CmswsFoEukCheInnGlvOdnwD+qVrNa2deKNNsvnvTc4iidyIb/hZnq/gzabfR7H3Jybr7cNcLAd0U9ar05MI6FVm78Frwh/zOhxdJbtVmOdd1Xv8Gp+cIq0T1KI57cERvpuIuDIlXkvi3a4Y8cKLoJyr7lEtC5QYJKBmGSzswGz6b5482+UWjOVAGw/SexIoms7ZMuTqqhZ6XrCFxrdqRjXNN+mBMCJpZ7NO0G4HliyLweyEr2GFVFxlGBvAWpkECad38jqjTaOp4/i7uKQ/Z+jc/SRt7UcPoHjsO0CjPXTR+4wub2VxE7ZN/EpTq/MaaOikjNBxXwX/RwFiP6Me+EsvzokHuKOxNXM7oiNQzKWz8crlVdGV99p5AYuQHb/pfvcvXHYa258rbVkGpUlEXTOC4paN2c8kqMcy7BWtgWRizp++4IlwINwxLvXyX7iw4kdMK6ye0lQtiz1GytsYeUULv54LNMKtZHiw2rgQn8CEONEJyEXoNbqidFbP4NJjNOJAilgs3cnlEsHUsKkNJ9/Db91mC1mvpUWXIr/VnxCwtUMMOTmH2zC6XFtHauxeSQezlh8jCxOZoX6EdfUyR2WjyjH4abN0bAdQkigLmdLBEWdSks5hkH/zXAXZz7Y/f4z+CRjczTbDRPskzkgBzuYNAMOjoWKZQFAW812NuN2ZWMqpgxcLLLhbMeuSNtu5qyIlAwqA+uCe9+MSxqmnHKQL2ayzEAYucLzPSy1/ILevgL4FeRHytmi0oVuxS1vtJkp80t3/aSvAbVjwvU9e10lleB5djzXK+zHvDUWFcSqCbBAq8DgSdzjPQJk7EILKYr0SKv28wPcZjA7c4G6i/DfJ3dikZf/T6jZ7MeMop0ygRdPtTWS/LAY/hIrKMEIfxegezdJCSCTCKbxgFrND8za44G0FQiojIjeARE3C80QKuZDXEyLmeppNffGnyKr6oqq4e981xdvCp+PN87zuw8WM5KacclgfQpc8vHuHdLIjnFhdZkG7hsYQkxVOc71aQ6hYk7MZHW9ZAzT3ldVLuB5PrVS5Rp1eTHNtg3pbltM+xxIpcWeyjWDpDxLIR1zFrRpRX8/D/njYBJbqfHWq8YcHWxJssNwDaIxxQruNYu6ca2d8P21aTcukOIPlBvXbXqOJIdujAUSPkLuJhjg7rwyKQkIZrhkRBvDa4uVc3W3ChCFXvyBoRPELeT6sTqZSM9yRfPSh+pyEmD/VxDNAL1kIvJtD4AYrobfr28kG0J5NQyGucgahNtbj/BH2XYfC3GmVAsmUJZWJLChn5VxtELFCm/dt7XNSAC7FgxP85EmPZyYCLiW7UPqhHYhTxmVH9NtCQe+UNefKr/MuwfeH0GY5wUHLr8WEDg/81HD4snLcnQqhku1Wb7c4qTkdoKvxBd1jOwpOWnIBGKrfB1id5/XfSbFRQziU1R8ZOmsnE/4+nUv0SSZ0F6nXWA3DfwPORXTqSRkGFuu7Mo6vST0rzv1b6OtzEGE0XBCEHK2nqzZ+p4RVPucPwzT2Awyt+p6MVBL89ix9tmBmCjRPtMVFEuk2aqqvMEF0y4VYp3gobfJJZnBxqnqMNWTxwrjzX3SNVW2KSb58AQjEAuVcGLWn50uFulK/pSNlzlFFri0IKroBJcCwz1MqVEeVLhKrpoZamU4LxTs50AG2QJA5m2bv1nlnwFEIJRCup7Hj1XINF2NlDp2AJR9hFOo6elwV+cxr2stoOshcvXB914jxary7Jl1U1h7m+s2dE0oi3bVNUtcggXGsEFCjn4P8X10s94iq6g87DWz7/+cgd69iY8/KaNkDJ34iy5VGkCt205luPenJyuRBJH+ZKrgD9h/8SM1P2/VYZ76oqaSCqbA31tMnxxKSpCBN3Lw+zn0JOBxP1gE26HUz4zcqjL6TMpy1npGLOhvrM00+SUgFCZqi4iZ3E8dL+3VQX3zbwpXoESjhz2BSYemipRDS3J/pMX86IDVmid93K1i9fIxy8muRsPAdEMm/GWyH0FCYOfa0uTh6otr+XMA83EmBQasDExNsDXeFKrQb7oBzXiFVb8dgLnoxyllLV1yXGcR63rNzq5TXC2q0cdvEjF70WXVBEdsze4Dx1ioG3coFRJ2Sh4rqpGFQ0Y723HMoQq9+Ig/aJNoKF4eiq/mYdAKz55iXhyhmuCaRxWOdGgrYi/LBDZGPZXQlM6KXhXTMXB0wMeZIqNnfNhxiGLKj7+SvPpTUlWlWC5C+QQCK7b9ch++um7gjEiJrT8jQsF1FVsetZANaxWgEp6DdQ8vXc44Sg58kUA+jvvVZajXJoGYrJMYw8tsf1QJV/u+47Lzbq//q/BUf+hcDI+NkanFPHlnxfKi8kdcTZscnKaC8y7lmVWzrf7g1jQDbC3gLzkt3SWnkwCxx25tOHzHP0hXhpPQU7yOXaKCx9751Y4EuP8oZ/CRrAWVGLLbqNwGqmPq+j6BASyTKOQBmgW/togxXx83OjQrv78aslsuQfzWalVnTi9tY7MPqSrPbv84ti54pzxjqcqUr12/FH73WI2cedfA71yfFTqO6/GENCa6d1JY2GZaukrquK/JxfYrClmy0Qo6hlummXF8jA3HuKooO+6Q2NdG3L0QVcDmi0oGrJrB+rYwhNEwuLzjdoeCE+O7wijEI/yBFhKc1H7+jjCbBp0ogE3prrapbdWE0Ls1jT2xgauPAlOimu5Lkv0/0ChMzw09eO0M8CfsH8CSS18WH1CeRHUEOYeL1YlIEP48Rp7oRx7jQJtxXd1W3/hzUfTfXg+GNjkimSadBTbhzr1IsTGdLPnXg3AeDJX394PQ8WNxsVI+8hXLtt2q7y/78s5TJB3C9tBurNPC7+ETZUYG9cNjEIqE6yTDMDuk6HcPtlYuO+K7qSswZUr3zg6FQC3mnPrqRTCUdsvqe/31Zl3v7/lMlcMJ+DQs3iDzznCj15SgHmVvD7BfwG67erbMa17HKEMQvAYPvJTPcekIKplDZeA9dJOtgcvv7HsjkmswENE47wQG9q9CJf2rD5GgdD1hyM9BniFrUzT/I/xVpnYfyDnHIGTY3g/PB81VZYU98qjRCXxzcyRC3tmKHjVBkwHcrqXMrYP3mF0rzZAqkmgrEkpDGpUlKOklpuPa6O3yT+EpYtlz6Dca5wWiIQiVZgzif9Fx0Hn8Oa5TNUrKT0XA4ybU1ydsLbWyZj7osxGM36Lf+WWIdyQju37+dlpJIU04++jhgqj0UJHcewqHq/cAXH04cwCDodHiwlilYwaNEQ/YvyvNv/1Myw9kn8QO0lYWfnM3wBpJLEyLoddziptrv2Bq8mPdNFFlI8zXJoLxQ4QQRvMFeTWFkE2qh7obvvCpUh/gyW36pt2HCm5KNfAODiieXt16HRvVzas9W4UFyC2Ti584YCItSGFLUtUEH2KwuNo0bXrQj221tGFraNG6jll9K6MlJAivDW7DMRSk1BCZTAxYlm1FAsskfVPEALG6+uOeSKl8EmItUeaG2ddpA/9mUP6y24nArh+q6vz6gprSXpiLWYRF3DBJnR7arv4i3//4MeZbOML+h7RGe7Qo3h3a2wMFf2npqz9pxMsczju2zP+PbWO9yGcyN503iPLzoNa8UK9bEz2uGegDZn5GXWvSkzrh4vnuj9nHtDLgLVoRgz/gFMD0nV5ID3jsonbPr1IzptJOycdiMc6DRrWL0eYmafyPX5o4xMUhSHUKZk8G1XLyRdiJxDSVGge2EYm+fLgBw0057F2CK5E3SMUI4RVjB/qIC4g5nFUaxO6TIaVcu+p6yyNqjXMYqCswyf8mWedhbbo5tVzy3OdpGPzyimx/e0qj7E5jovpD0ihCED5nOCL4BeMZFXSjq4t0q30Q6ztqPaQP54gvoxMu1EVaBbTz+HKO4tPdOo/6LE/c661h+SEUgbIGP4I1aoWJH1zIeAh8j6WT8hxYUyGju+pTbMNn8dboveQj1QX7qeoVXGFeBbSKzOjnBpDCiimVTfl7WTQVmeGICYLt62ipjhpLZcem/2MicpKuR+L5UwHeh8mOvIdPcedwrDX7HU7VXYQcQCqcw8wSl8ayvxVk7zVuG7wWON0TgawrIzxXnjHVHH4mVQun5WPfQQmIX8sAIXoEsvDNfAwEUPZyXUHLB2Zh0BwAN9t2NjKL3W6e2Qynpz0vYMYk8Mnb/fyvjZjGPiGWhOrJgXJPltb2NxsTDSnzHFm3THD4vORRxXo9ixn9vTrMGUDBELAymYSV2YVXOyedPtPhj2XN4ryzg9nelGBUd7/qYAaQ9WxKPmCZ1C+DzIhXtTV96HLmohcZzDAXFMhYTY1PCOuD5/m27rag1rwzVtlGZWeXzRcIMSoXRyZP8BotWmA2tJGuKP/iFkj/p/eIqPlXrRJZfqlrdD0v42v0z9uo9Cvs9nQ7TwMNatu0suo6FKYOxK82EHi3hsLcmCy4tzVi/cPXGfF7W93hmXiO5weubkcFNnfhLBzecs16CJcwv+vd91BqedGV7nd8+JHNzIftsK8oNCuEIUkDqlgAXvuHf1BdMMEexWGIpCJSCmAobETbnw2IPXe3aqVq4XyBWZWSbjBhyvgqc9bvB6dX6/PBiH4tPIDFi/TpANbGttkyjkDVlEQjbBfhv4IhlvckKGu3KHDsgDjuqmuPP8nEDkRUr8XPK58g+CsupmxQOeBX2HxyPL9B7VdP4ePoOTJa+4uIXPli316+8peP8icATxFFdRzoRasPDN7tqheSJ7gnIh74gVv7/sQ6mSoORMLgwqlWgajxsshmOotJw6yrt7Zt12vJN/OM8MjGM5NZknLprrI1XJ164LERLdopTEspDyrJBqz59VtEWCd6U2M0JXSJVsnqEFtHCMNtCxRbYHgbZPNRNmz7gyCo6++jQYyBFDBYsCZGI0CIC6yXPgPi6lnDBTzPYh72o7wdgJx2DUdBonGvjnxuje4pzs12Z1YCz52J87FFEN+6LB1GVr7Ga1q1z6SGMucNB16PdxAtonRYmxRL3BhCMO+GaYdUIl+CE3zXiXXkYbFIk8RM37aDb26hgjWsj8+d2Tk5/4/QBTOtTP1p35alGQoutjxt4VTo8uvXAyuzPcKY1Y/QkUMjJIoiaL5FEeC3YKJ+w24PKbZn0Dygy9gRIJ5Wfe+uugEUFZ0wzR2KywzUhOdN4ezb9uL+06/7VOlSjOD2Yxz6ssiCNNa91B3idMPtnOBToJCxXiAX7GByFp+eHbuvhuFCmUXBF3lNmZKSa4Bu94G1lSGDp2SesUlgwHvVzOyqAlwGcWYsNAHvBbPQwGEVR8AZkye1pzWJZhOU2W27TqFjrShWm02ACes2kmymKz3w+I8CHU7VdYxY7RRt6Vsz8NdYz7LWb6CRF/c8VqLQ3fR58xHlfsrTzxAfdX26QOXvdpitHvgrRauGM6uqOutCYai+j/T1z/vphm4GWau/IE3KhxudS4c+j0mxSl9AxPoSaiETUpvttFju5F+n3DprCuTEI4lzV9319jP19WgjTuGM4wBsdBiAzFranishUARXqxUepMVTN/Fkiv3p0xQ5iw/A5t0TFBC0T80259t6JZsyXRVqNPLhD4mcgdTcl81lgsFBV5jzzCXDobIk9Vs/X/cMs855DD+UZZb+7/H00ph32z5tdwWVCI3AIKaFGJHYcItJKzpYIKSQ9kiQ3ReoMJZYInF+cSGJjdvoz4011DWfOerE6ljbNhmHri9/H7xBH0DKZ1Nq/H934BlEWHVZxk9ozqXDYwhNno/jQk+vUQMKuTXgTOSPMOF/aNzmHGab0jy+D7ydGWAuZgpCB9PoPEtNRM6MtRoFv2M5zS3LxE7wsotPzBIty/jz0gAdPeyrGzWfpnJZ4CJX+ilImPKS6gW/LrjeKOTL57+1hES1E5Fywvn9YACWOMJ+geTx6dVBfpMMNi6Xi/se8O64bBuVvIAlUokBRJZY5c94+Mag9Gm+qidEIcxJPQwFXYNG2PB3HlazYA0RuZ1wwklR5tnEq6QQ82RPkKCb/iHl0uWbkc+Ae5vbPZMoeu0ynkXnheAuStAwZD6T7digcCKh/zBGMMNq2dXZ+bAevMLN6fgvKnvLdxU6wxs4rTVgzpYvO+sRfXDEak6LkmtTSvFYsa1CwOvH9IdhbDf6IphjMNy+NsxKgLGMMy8+GkD95phoT6epSVD2+om6YUSwcObwiTsm4mQyNhq8y8xclbA6NlRw0dPHhsyEoCgTcpsEPb5+6NugS28LwgNGcWG/yFa2BmSj0h4x6jUPm7Cpfqovm9i2h37lJw0snqvHQgqNppfx1heoiK7vqTPKTsoxyz+vtTGwJGa/g0p77Rtbwv5uh63ckSS7ivxv2JeiQqshVpsQd/jBR1WsW9+H+wOu6CW64DBpBVZOIioXNsFfhFmbPIZDUwbBXOK4sLCAof46RBoXQpOAqfWK7pUedruqfGygoXbDMqbA5hlE95t+2c52wLRWWsmv4mwfS1PQY3HKrDfrd+KnFsVkT6lXKIMEPVm+HCRc+DfYcZZntZUN10kvNkORbbt8FqebLBdPj6YU9hGD4LMesWljvx48owC5SWP7IocNEMy+Na6M2XYpfkyc8EpP+cuC/jtCPtPkvikDKHOa65XTnayCqVc3XEg6rJpCjcYmo6Gct4B1hn1Sa1S97hLNbqJ6PpBN7ljTWCqmb8ftN8+gtLCJL1U8Hr3rxa5+fsB1Ya71LkoKc69ById5Heyy8p22r4EugjF9yxX8nqyl/fw14VXvNdKklErVfPa8Nfgj+uAHI+BWILz/qSnOmcKEY72H/f9Myk4VLHTkbSfbMoeVNPMs6mC87KpJxAmiuFj+a7EIxLo/qatpQ7UhOeGM0v6NbpA9BSODlc12/Y9AbDJFzsxSPPIwYACK+y6K2/TZIEBpxR026+yijaOTH4qpBUuhjbZ+xz41eqiryeVqMvSaL/r6fGaRs9qoM8sjLh9KKLuZR/TzE5EiUhfPrpXIoW2WBDX5jy+B+MLJA4dqQCrv91yKDUq2Ns7npFLVgODNxwOTzi4J8sGqqPl8cikYBkFfihvcgVjDvqOgSuaWDQgvQJt1EAk+Rhh0nNWdfB2VhlGzvwveq3wM85un/IPmrzla5UIr50Q5GOSbA8KoK6H16hN/mu0u25Q4vyOc1OkBusgcbHlREXBhanZlxOExFgRchNqjhGjQAmWsJMp8cPw3zen7CR/GFAKrj5nq1UR2/63DPEVdra4ERZjb0iecP3k7VcU/okp0wr2ST+7AyN93qkpBbrRAisvh/Khh6QpLL+P0MfgV5gk+fWm7woP0xScAKZZWXBYo3Mv89YkHPrYLxJoP2mpVgIHsvgVy/UbqRjtma/he1WlZkFULDSv199riODDpreMwG2lLSoEIhhqpidPDPO8CM9fwNLfEBRef9yVVNUOxEaveDl9koZm6Jg5mOwp1l7kjeofUv1e6rb7MdIxRTXZbiNozRAkdk1GBYgXbiI/afoNYlJOJxVPZDQpkS5Fgj5SLG1DfmFYkn1ll+zfWLzu7U73LCKuD10b+VEd//mQdKCcQ3zIly6a04uX0T7arCHpSXeVPjOX0pIVwdg0py7+k30yG3gdwnWxjOtzYIYZsO/5gOJGmy3bWaZSamQ9kuMrii2M0LqG++MQwEg/PaOwXXLJIWZyzyOtFPmcFeGaxAiuzOx2Qnz/VhK26KbCyw9M2DuPJUzBjBOMz21q8PdPIjQJ4v3GEpHkCxV+BovlvEAB89H5JPiqaBxBDeU90bJwtIUda2cVfSIt66o4eVdnOTKjHVjRedVJiVqFO4gGd54dPH44kc3JyQ+Gif2RadMpwS/ZawTaJ8NJ1hxB+2g/tEgwYMWxouxhNnp4GU7+zH2MBBC76Ts33M7Qt56UiHhXiWefZuNtYnx1N857vQcz+ku5YZY7rWffPCY2fja/K1hYq5rwHCJQpC1KMKyLdIVUr8vz/DZpD4YAU/G29uwoT8w6J6yKPm5OLfItZsFC62T8YAF8SDz1UEjrDkeSmv4HPq/syZpTHyr0kYp/CUuwnr0f/s+0LBQPbye9dlobIFA2oee9+nWRgYgk+1cA34lKretBuSgmmqb6KrSfczb3TzIDBbdaCDUt8cDeyMyD9hWpZwgHzOg+B7RtGUtGiVqZ2jQmu5M2Ga67x36pQtxM8evoUDBRP7xamXwA6l8+hgBoSGHT1uUQu4i/HifhzKc+o4++aZA0OG8FqV1/8e3mLBCMfvZ3KvlhjtIz1j5Y9VkukbFFac7qW/lxxSKeAWmsrRb60FKniCl4ItHqm/eJ98jgynVsblw/UfB+GDFvQhe4kwfWOxXLAzZ8X3ahh8gCsScnhA23U3ACPyjfeoH9E2jlxIvJhniXg8adlLFE3JrMBcvGshzFhW9Ra00K9Ohb3NH9UEbG2GONXZH+HCIwVLjXztBp6DniDXaBDWQwQuTtPPizafv/rGpvW/HSesN8Mzx8pfnCmz9WwnYpSVEcu0xg8wUdKsAPCeIx6DWRCRzzSmajT0TgXg8Q06nWQGpNFUOq75erZZ8zgMI4aRAT9+rzNmG8/wRDl5pF+Q1IvFG/rZrjxkqRLboqNGU61PjtL7kiWWAfvdLw/QN6ApdsYp3oZK2TvQpFKuuT20xQvcThI6281NzaejIJA5XVV/E18YqPhGgoEUh/m5Y2qVeufOfBi4aLQRpng9BJb0QpQdfQG3Bal5mmHphO8eKWG4Q9sgAIee0OCz+pNr/MtAkbpaoM4ymjtsdR7yRxuI9MqkZ37Oeb5WCQOhikcp151+uuwyf5jE4CeSZNaqtZEGUxRM3zvLf5iExZ/DRD4pby91JqHfbocZLNG6WNB1XXtv227bzaQAlaA3V5JqTwB+WzEjs+AfCnuziLjgCSByZ1LZ9XJFw4eQmDlAB5eCQkKiCjkzXCRA7f95Z+FCu0LE4pW8VsYKozocoQxF7KjN/4+F/NyAL/cxnzoDHgJjXfCPBKLoV3SZv22jZWA6jWCknRszFXcsEzVW6/qUBvhT8+MTxIEmZBn0JSlsEGHo/jpm98IGDzdfgCsU3h8qttWstsncqS/oqZaCIn4Z/TeyXAY7mt2QbvXzvvbXl3A9QQyg2uDZbJ6UajXKb3v0PxnObNCHfm2B/X+j7JHQ1xtKecijGbHzjbvm1N21lyGWygPzcyumeRgylJNhdEIgPtKaESWB6g5Ff4YYi152qOGANlz+bWbloCyT5GReSsiD/yiVTq/7UiVOo77UTq2BAZY7MtoqZuRld/EDSHyGi3Bo/Z1eGVL6JKeuJ4mV3pXU8QSyG7dMW5MddCwO/LabUTsB1edzXIa0KrR+NpqKCa1vMS/vBYx6YnhYFVnn9BQ0G0PMYEUOK5PBOcUrP6bXmr3AwcQ5zUcfWEyFZzPyoPiNOiyChGHVMSqLDtwTQcvvs6qMRGeOhUZBSzCA74LmocFNFAQEb0XVSxZ28ODuOBvPqnVjinMScVj/VQCXgbONzDPIJanWGViFdsANgv4teofQNU0lLrsJ7AvOEODPswEsmxJMUVI6ODybsNmlQpFaj12xmYH9IWkqtT0dn3IWqDDxrEzxDXxqdU5VMZ0TNGPNPRYYjtFWX/o0sROdQ7APuXXUJsscN0ZQImOEkBMlSpkYKl+t2vxQbziatPGLCpzmOQ0pFq9y+y1iLy3x+WT66rrQmPH6gUTWFIhWap+4JxJXrkplcaRxXCuuffvmTpt7+K37kNu32dJa5Q1sqUCzSg/y11/WOqm6cCNfoIRkDMtHM0vkAzQ4zgdKN+3LTHICcKgZN+kSZkIMVw9CZKOw2DnaxoBHPsJnyhJ8H3SdKGYjuFQEI9T1xI7++5iUfcQMaUayMIn/254EMs00Rtx3W+p0r3mo8uJzS/QivDiBHXu1OfuHXPjsH/nK5arAWp3q/Atr4zIGEyJTpCfVrG66DksxgbWm6SR6Nb2INVtwVWRMhHwPEmC5b7bR/L1zHTNBkGkvHe0zjzqZEt870574taiqswxEJeGDBmY6LA1tRimn2MhXyv9tEuYyBh7i+GOZqAEtx1PFmHwqYR7chGvcLpWfRRKafWyGMopP2u52SEVLTfJxu8xbmc+BqZF7IQgiBYwZX8Q03hm95yrCm+uCPZ3wdnYMYGmRjCLz/LdZvXpBSDJsY0PwTvEKkYwFZhICEH3sGmWtcJcvYNNtix9bC9Cui4UYY3HVByBsizal0eGsjPFAYGb/tNgCLnnhK0uTGiyYBeI+mXEoG8/+ZxpGGWQJmBsCIB9DaOXgfAlk5PPXRyrKoyXuZL23qMpt/WAkgxByCCn8rTwJU1eX0cwjfBotB7id75DO0D0QvVewQAOR1g0uMlPkYX9qEcPRO7Ev74oflLPy4c2Em3O/sexbY8/WRn2MwaRUMxjPwCdhYCT7cMLSZoCtkkTKE/yyVWoifsNlEmVwgwqzOtyR+u4fvTTw8ZVTr5rTkfHWwoxmkNCHAppf34rnTVxT/Shj2w/CRiwCp8SKDDa9Af+YEI+iTTlkiydned0psBuFeyAEzHvV0U+pGw6seCZUjRSayl4rl0EyZ0ofK9M/3O5RR8SkkU5JIQLYpN+wk6/130kiuTMLiyqzhIgGuJe3bqmlXaxTo3fP/zHWgb1FsXQiuv+Lwq235Q2LYKG5QBL1/v91rSE9uVkYG/x0LhdLq49gK6BcKduf46FpUMo8VWy/+3G1KedJF4cf3vDBRlgWnWEe11PoZrQuxoa5BPFZakOO/50Y/Sl/bmb64cT+8xwX8uiNVMNWKy21yraPPrzKkGCygUEL6obsSym6jyAYZ9ZBu3g9U1uutKMVhAvXDm815fvt0UJIFPvzdsIFwvHVGlyq496cUVLXCWR7IZSQbIye8ZbEF+xxX4RmY01ndPMeTk0vBj5Na2/l3lfkQbuLNBmmRTEdDK7RUi5QzbmpD7g4zeF82G7vvu9gDEZ5COMPZq7n8CkUrsOxlsUa0HZwUHm1nGg8Tqt+XWlJcQbjZMpQeISMML7OFgxCdb9X9AC7xgpJhOx+ERIAYVmQnPuU+oV+ZoCwH1ZsZNQzbD7CNsm9sBY9mP0hWEh1qvWTsoOgLpmMa5u+zHyUbqkDBKRoTdrGtICqL5LWCSg6ha8RYvy20mkl9qi1LHdUCTKOeK6iO6dfurm3XxE+yke9SNZPA6zJik8MQaEFd7yvZBRPYh+AUi7IIrw85OlVJzeUMPGXnzLWkPyegpwaYxw7uhNA6gkf+BbC+hNwF7B/H+7cQRmJB+YujyJK9+zXCWamWdfu7IWOi0pMcgPZ/u5bM/FZzjW1n5ackLO38znZ6vYlSsTWGV1A6WP8UfXkK7qkGojTnDDUugwLX7pkG4QqhWnyw+Fx/5EqjE5s/doI0URN16OGaPaT7u6VJzAkji34mQxZRawC3h7KP2um3vskggXTStQLnrA3fwuFg4QbOZ2ikrBiNStjMA43xSDyvypgO21mBiYR//uDYnBg38OQj/1rVCvyjrTvX10eECFE7eXGW+lb+akv6s38DXNx/SeD2VjKAJoUt9rhWJwboyuIz/76pV29qKZzQlXsa2miuLHJHhhqV7brCMPpM21EQFKXFN41Nquq/c2QahsLw1VMzgG35tuEbxmQVd9L7F/bAoVQgsEYRdxIaFg1Yqks/xnf5M69Q+4QOFuim+hT1BKnCmmUnv/qnQGAt/DFEIMPXtFSSsETfAgZILWRRqLNKmdVLHZK6lweocc27i5wWHOR7LHT2sdREdSifyNN/aoC+HtJpkMmNWty2NxjCg7yUkkfpMUF/ai91tjhvd7haLnlBhhn+Ytqb8RSi17x45BYvJg+rtttaXFBqfXXAZtN2n4jY2A0P4cOCHfmgw53klIkb2kin0BnRbQ6mtPsXVYMMhTUf3SzqqK0Xf8qW6rPCG/QZr6xcQpkpW+HJ6Q5P8StdnW6ioCCZGjLwouYJbOU3bYW3cFJbGtWgjG/dbRzz1OUJnER8PcCDG2ERccST/ptic4E7Le0DXn/PY2mG7851KLxVR2F73OEYFYwJxHhG+i8ykOi/EcLcJb+yeBLNIsQ7jubkaIHNYGIdH0tLdrchhnxXP34DxcHwLj0NU7ksQwV7oixK1pPwCZA7/vxEVlL5cO/Y/VvrOAAHyUDEbMFXUHv4vsK0Um1MApI75AteH/hg3WoQlUPCGLQHZ1PEBBbA3opzoqiGCbz/uYaXH9DNejAm9xcj0EOZ7ovANMam0ch0kmXLtJNgbpbhMXs579KBCbQfcHABvm+frl2o98v4xkSY1wua5sczNank3P5jJ66z2SiIqc4q60G7YnzsI57g4FxWuTH48eh32hhZwfSEOp0FFOSVvEP5ZVIg9aNijye4gy/zNSFd/oX2HYo9gaLhpUIQ3VgY+ibah21Nwqllh8QQWtePurgOF9DBr+ekhlBp7yRbEz/x6IuPQXYQ3ohmJRgUPT75iwaytz1hM2AleGfqV1ar1bydZ3joqDCbCYYcfO9kYg78sWxCqIZOUHVHGI1ijcxzLCSrLXxdnmu1vvUefO1Xtxvn2kdvYR5fvXSttZ/qIDL3uxGHSsomSfvirICAdLLXDn7w9NNLY6ICSE8IdROHD0O1b9ifsA0Pd/ONQUMlqLY9MYiDj0yPGh5d9lWGNwjHl7bdlPLwuJKB1Er21e0PsEYvpu2a82GBlHxZ+S9mCoC4A5e2cEjry1tvDU+z9RS3Wy7EH9SIX8RN3kD7GubYoKdiGDrGbgWumnUfhNOXIoDM12gjDDb4GaScExH+xvbRBto45QijbT7vza7YWMUHLx391ZVkMfd7heJTaws2ueZTxpLiaNvoHfNa94xFNE8auETl/BAlaImJIGKHCTHav9A38fZfosm9+bmK+zMuQJdM1prSMvX2ohLDCpNZcNODY9gadrW0ym9Xg8KnJ79bK0zXxb47YyS24ds0j3UGjGeXDWAqT7HRdpVAvub08sa3a5HlVnJhLg43fra5SBI2O8NkiWl5cCmXkFhCVdv/h8+OjitmbyJwUaTvuc/8FC6/wq3If2EGpOuVhnDHf1ayoNzttmmm5LkEf/LGVGPGaiOzUu/ziCla8NbiLKTWdUO+Nq8KhN2XiJCLqiAWkpvR8SdHOunSyUYAe6IePqFwXj3epnpaTDhL0QEiBRp4DPGLDKS3Q8Px/5jTi1Z3S2qelKbvJNiqpnauo5aEbXQYy6L7Hgc+M8DcoJojTKvFnVyoIbDhv9JDWVl1NbpF6Vfm5Lxi0ek4SmYcRqS1fV5uq7c1I5Gnj9n4GjIWrCLHHaHIbDCFuZFYG4S9G79+c/EfC+qmm9ziozCHPGglLQR+N/5pBXRc7wKBm29akc21VXi0QVwsH9exP/AwB0NSVdVMLUL+Xm9ZxCx2zWJq8TU69lbl32WN5WhInVCnecr4YxvUjHfH3zrE1+GrISkcend1mW6LtMCVvaF8DXIUYysRRB9UuUFj/j9uCdGlj/3UxJAkX3aDJNOpn7KCRnqgMhwqEZgaTdzGLSGLVHDVJSidrD/ncoQxGqpn/zHYk9wgSKoTpv/QI80hSDqImjrvjqGNGXz1eGYhlmQc3qAdxMZMWjpivQ3m2k8qKR7Qv0bwpKKqcYkMxFahU53nKVZyp5L9fBhGmxz2XUkIQre5MNx7H1h6P91z/I7yTezy1bccImpmARc0gU5vYJEV0t4ZpU1wnvMH5zLJuB/U4+x6KyLaCWAJPAZZHqblbcAn5T68CgF/6JQ0ix+imSXk9XWwyjVs2m6SxaWI99dgVnsSy7n0VTSzGvs+0RG1RVO2fwsCAX3O/GPji8io9A2soqRvGvkIL1LFAY/Dw4Eh7GrQqVwmwVvm8ABmPWInLxrRUMKZqpEjJHu3YyeRdmJMkopeuuhIWrMl8PKZvZoNG0P7cpjvk4YibwIL6oyo5brM3pqwqR9Ew7qAyDwp163p4EqHrJ3hmv2n+3Gn6FQQv34lYanLetRjU34L45yYNjClt7A6ID1Ynvwpgh7uwHYlnkw9qRNfyVvP/xS3n48t3Y+PnD1wc/21a4GdRXKk0NS6QwKh1vGPA4FF+9ajkywPHpDPW9CyIj4lnmXm/utft12K2AskD1+Ob0BoaIRRmeoTTHf6C4Q2CqS8GVBYIUj3Kg2ItQJ9oQsqjsyeyV/l2GBaczDlQj301nkNyVBVavH0sEH39VwB79gkuH3IG1Ta4gGeXfHQD8wZlkqfhOLCiOedJKxdVT5akHSzZ4Po9LQRSoay6U8GDwItMaffoXgsTThZp5sfP2XIrkupp4t0547EVcPR9nf8dxW3Slyknes2L44JpKdHFWJQQlgzwQIbNkb1jVe1XmXVTA9Jst4mB+Pg1xypvTs/VnPMMzOVgUBJry5BXcy1ZqMVEZR+9weGGmmtltlOH128I4l3l5kciWw8mGGICi1lSgslxFsmjLfv+RiadYmOUZqiobAHv4r1GBRiOp0kFLJuXUCcOvTYdQYLcPX4h/scStYh0wVRZNRWvKJ77Tig2twWnEuJAO+vpgmK99WbBHHjCuVv+taeWW0tg21zvzPr9RWQNpbu1FY02gvywDbZfi8nrXX92VDAkAsNS59Xw33rpKqTXHkRi6uUnfpvfhOmxsNiOkkOOhf1YBdH24eaEkaHXgrttEUuP3hMw1300c7SBp0AxCnjUxWGjEim3cv6hsr+hZ4HsbKPRMpG/pdiwQw1JZZvJdhDXZp4oylMqN81rt0ra2pSTy80itBSvDHbBwv+alZGDpHjmbYPBqXm4zy2ApeDvVEk6lZI180L8ulkOYa111ZOi+as86RtCXC1vssSN+C5pRQtqD2JRbTSLg1yHq29YqRrk4BoNDKgv+brOjtK/YUlJxB4ueWMBYdERF4tBZtzHIpPNJLUlAxJ5+gG9jVgSfPlZFkE099U4d1gaJBF6GnE7Tw/KJG2enDA/86pxjNp2ZTwB6nidLKCrl64JANlnW+C/A4gcpXBWrMjNt5oaxHj8UkTk9gq6eX3TNnJ92xmytnDuWezHVwQ4Vne4weGGvnsQdQDnRhBybA2CQfh0OjEuKzbHlv7orzyW4KZGclZDnUSsvvxrAXKR8AT7PVSaSzSobpzcvPfP0vEBSiDW2QE5aOKyDaoovMdDKyK50l2xDeAlr8MSXlKc8HiBR9unkBK/vXmLyOK20zGyb1Mv9qAP2aVVj9sg1LS5/8Cc7ZBeuQpbNPCOxXH+7p/hMZWILIOHRkVuj0Tqr2IxAlZCys5xgOtOKPv5QXGTm/CLQPzs4cz91BIoQzXA0b0FI4Zx1t/muZM+38kDljrZvnfqbboEnn20nU03geI5dCTa++skawibAKOLweG0yLK93rA6//tc3wTx1lWhmL2WBtcBt1tDt6J9K90ltxtJs7qfZyG9UOJRC+eYLfuAQF5mpUZ8nmFruEz5L+zC+XfpudS1WvC567O7LW5cpXKT6zDw1MVzwId+Jt9KQcZK3OvV3d3+6hClqTZK+A2xlSEZHo+tBTWR27H2f0hVy2yS5oM0MUrELJVpfGS8b7hrLzU1CSQP+Kuz+ZKLemlkL9Io7xR7Vsmgu/lJo6zIktZTIZnDDLAdJXeG+OekG8W+z3NuqEehITRKN2iO6SPe4XKDksh4o/bfvnxh7gecoGyvd3QkZ0TPxMR9FYbZpY7XYp15VYeQRLXit+NHcDy0Jb7WENOcVG7LVAKKg1g553HOKeYKwIrU12kdKPM4TuoSAuw6cB9r5G+w0926JUluQS7Vgzsh+Snz8D9m3Q0cZ+ci1ZcGVLkPXPdLZd77cBhK9NMIc6CMbfz8pYUC+T6bLiUYSisvfIW0qUYgCGv9rM7tMHDBixRJqs8vgKTAH0n9Xfk7z/+rgNU5/Dr59npi8+Xa5fUW4QCbZfSZtHc+Dij9ZFdQ1odKom3V5gqz9OAMkA6FUYTKtNxWZhcX71YaX0chLA8zlIPmzi4qRkwXJlJDZQBbkLnU21+y8ftULUxDzSEk7stkd7DDw0xDsOeol+YVwBKiuZ8yaMjR0jyiWh8szUyO4fmPWI4gB0/cSm6uXvexcSpa9fJZuPx2h+jr8GlsTcyGHXWA8bt0aivPKA0uRKSmvTUYGV+fXB2BOFW2zB7PjjYPOAWzyUqbce5tBuFNgFx4a+/kfaxWaa7FgIXpwJvp1GfKBgOtoKkS0gmZVWS49cgrzqDc37V6mSvAxM2AnR7KgMf8eNsV26Uno5x9iT5rbAGkOI8x7JUAGzcRT+CLKiA82md1rOfQyZwX3eko4bb+iPXSiui7WsT1jKIj0dx4dj9FY8pnj4Ym3XJwi39y2/FO4wLjg65Ub9L4RcVLFE2TB35G9NE5ehNql2gW9b1KyvnwpjZ40XMpj0LaP0sMolGJxpWgZH3O83IMC19NqPEsuxKESg+b2bMV1ZJBkm4EGWn5Je85kvcGRQd/QvFI/SJOBGgEEtCIsujY1TwVqkOashdB+pMJ4lbpwjWkMp8mVbgzxh85KxFonJG5kkZCiNoMZOeNxJU3Ymh340uT+g7XjxuoKywI7aQUOXgOlJjd2Y9EM3XfSoSEQbsb7DRYLlq5T9n+TlS3mUTAuJm7gxhOFQOKY4R1dLLoF1pfdxFhvg3V6cd/6FyT/KpFvm2iLWGFg/nfl5gErEv35fHDcevp1QNMKhzRoaB/mQGPgBW7Gs2Wgdx23NHQ7+mvMwUfIxSSyEBHNXiZaEQDh5kgxtlRFvirXhuwhf1k9TPWM5LXc85IsPHI1HGZPuNEIopxJy2YB3OinvWXJ3uctUC8cN+C/ziCqY8Lz3Is7RT3cn7AOftjp6jxvt4gMh+ldjCCSiuimxWjugWCrg91iyo6zEwuZgwz9IRQf0Cj/kRwikFPAJ+f9w7Ffb05fsScivNSpeCjPb6OPKisWK22BUzlyGS7jQUcyy0gu2lqrWkF7Ix3bELM7xY7kDv70TqAjJXRy8ZMs3nEgQanedzYcVr1ytjiyFsElEW2hIGZke7uE1ukoUuK6a7zzA6i336vfAQTGeaymNKejCfbvdMQ9WqxFCmQaWesTb4gJKWEEctgQva1p+eIAs3IesJlFKJMUSxwtwLi+yIeN8nFtAfjTs6mz/NI7LqHrrLA8FcEwVwqmzi7JTNuNF+F/1PwBQfJAKanWIrJXRfwTusRkuXESApGvjPEkrJLB2UZnKcq7WgoaPedIvAkHeRJeOsbjPmwAiprm1paX8KXaOxjpt7h0smLkYLMrlM7yU4WLUuja1OHNCSUFlUQvZVhB2v1ZDShy3U3JqcUhEndyLXJDmExXdUlUFfnUpp7wy6Syh7L3BfwPPLbCvKQcwF95zvrZQgpbUvE7XdAGLpK9iZBQfpi3XtBnONT5Sz87xx9xnanukfzlqdT+ilMsOw8zNbDTubmZochZSsS+rkscEBeLvtcgcl7B/lX8ihQQRbH0dltpNzc5hvooXM001aJQddKmt5aRzlBORYoaqapYFsuAJFAHnfXkFHPiaTv5joy8gsBgoa0KMSG3kh5sivhPXXU2fQYdxUFdyGcqmVW0+P5rEXy9pW1dbIklRzdNLUgnQsK+mmxw9mCLZ57rcdIySQJ8Zz6zDBCTUYWBLVmAmD5LipmdmfOgFn0tnXShj1Mx1vQh3VM/pBe/hOI1N9IlO7emTf2H4XjhuEf3SYGww2H4N7Vl8LJ2SM/+VqlkS+bZLnEu5ityBA3jCTHyvQlsvbugAyvKsGO0QEHfV69ShVcYmbqyD4/xoKfFq8tsJfs7o0B77MjsXogLRapv1TqJqPEpkKlm4eiR4+Ie5vyj7GsMWJkehvQf7p9QvYz54josp6xgOVHTnyE6od94gu6lIlmrfRWMpI0Py8WTCNq9S3We/3D+Zla3A65+JArmTlVAJ2lVVhTctxMdZtgHL3/zAVET/sd21h5ZyMhLYWObuUycSi2aAO1IJ9trNnEPZ9IACn39xlyZBDJT1cQxuGWwFdHdXUXOdwUJTJhwDfW6NdyjiI3R3TBOtbSoQu9oeCyKUPDTVQ/Aqf8HFrghOKno+hnINSTmCZ/YjS6CJHZatnCY9o8h3SXsRwzy7cPQpwqI43vHnv30ZEMQjhAglitc7ZIidRRM+ZCNTZGXfzttXaIsUFFSNPLtLF5LRpQTClHKmUfNYNW+DSqE/IoY2P+IFr5XXEK2asJcWGD0gpvmUMYak/oYKhpwgBcgb/VNWydYVVgINKpgn3objLwK4aQ6OjvIuko2JpkCfjgPRcLZc2vp4f8bxE9Bs6sIEg9x7Z2/Hsuzrxv/aK/QUYPU6pXFY5SqH6LolYDXnICSIEAA2JBH39JHjjmlTOxw/0IE7bAKPFqHuWE32jVoq7O5oNynIYfWn3Ak7GrAjaKaKfp/91MTnNLzHgvGZPqaHco/lJBftbelHkhVjfOiLggTiVucy7GZZT8mMhZgepNUf2TqK229nEIDf38WAaSRfUbIWnxKWdY3FllavYsUeJ+85MggOs9fF9A7audZfjv0FJPlf+AXgTAuyVUHEjoUOZlEhHTqKUy1vE8N2i6lgiRMKyj9zqAg7wODUH2MN0DwGSBb8mrGWX3ccim3LZopee57qXCYVzG+ZNxJ9Qxs5C0MXitVnKX7T6KNf5QI9tB4KBAxBccghB4bBgh3E2H5xDgAmBTg7rMqkOw3TUVO2iGceDm62xdnGp3vme8gT88I+nnYgy+b3sRKnwd/Vm1vVvTfo7joT4x2I4z7SYG5K5QWaxBeahArpVEqO8jVKm+leZdRBGF2l1G5guStv6zoEArboIYr0HMKcMGM54mqGI+JaAvyMiDu2+IAAJn9afBXbeDE+6th14uBgq1YG2k9xKqKnVZqNkcr3NUPOf4blLwSuk4o8TH5XOT23NRYAhNVXuXGeQoCDeEnRjmwvygD73U9J/CNlaqvPTaoAW4klDoG4TgmG0+kY7e/ekJ6YSSprAeMw9hadYwdOpR/X8n1ypjxs5yh0yNjFxUTGTjBz2HUdgnsOJZWx3WoOXp0T17lr1+JSFO/KB5nkMMw8FxxxoKATHGM+koDecafOkiDXXxPFxvU/d6XYodILGmolpQoOJdtVAhXpQBCt6N6HQ32iTUkBt8wUqSQoN/bT/c1mF0J9YHuY0QQsCfSrkf/iUecpLBa54S8cZq1O6r258p/ywL4FkwYXx//CKBdcY/FU6kH3SuJX8SxIjSEgIHm0DqTY1QOohXcUSdZ8BAsSxaKimkU/Nrx/ZeYypWiM5O//iBp22HWV/UUHDafb85xx491pskuw2gFwf3mrxKHsGyXh36mPSEQ6StKRTFfyGRtMOQicNtXdepXh5FgrrStXS9CO3HEVcbvjre8iHtp0zVpuZjEJO66nzN/5lvgOz8Xe4V//HqlgzqQVq2MDeezuZwPhBTqDw/De0cDMdW2G+cF2xtQCjEngQCB76y9doCT6EtTLxFi2B1uI/+7W0q7MXmu2YJ/fP0x9q5idM2YIOTdEk1y9fNGFnm40R0vgYBOTRuzOj7XEDbBlBjS20v576z9iLH+UKh7hZ2d8QrZW7mTIQectb89UEfjodgXTPM8jBDN2/4dpUgvhIZR0uCn2zr92XOG2r84MeN3qjw+5nP2Pbd+k6d4IrBEwNMe9cBGKStovpXl8rpqvdCmF6mwnL4tf0/kDJQHqFM+NyTEIcSI1gLETEmu6alYVkLW0LUy+byEUYVqL7CDA+AKlQYBFSGEfd5zDnAOEd0vQadAGnDoZwZ7PdCYN/4xrBVDKXvMUtMqafx+k1GilQ+z3ytr3FCAw72q4aAXOpoiXcB0oe0c7KW3v+U/zjkMHsBZiwHoAygGbwU2nMYeitCyd3P4NWwfRh3vwx2mlPip+une/dCQK0iRl3ZRtMwLrwO5Vpp0TNrQSf6Wko3Uo14kdtHofrMPwvN97/b+l5ii8snZ8uaf5oTUJVFlBWo4hFwgWsvm9hFaX3US/ONC1WJhoLM6tA/UczrWyoRDB2N4Kfuejs1Hd9pUIv4eBUcDyNBtRkGP3Gdi6QVO5Bd5/WMXz/QodxwveAESrRfHIKsYHR/Ytfl+Hi74gbgQgZGUzyNjV2U3csBv5rBRfDPdj3PLTG8h8xD1ye5Kkb94Z2qwaWHAjAz6+ijhcA4urrCxrDr/l8epykWMwqEG3O+jHUKEZ8onhcOPwoJwQcmUEHHSxBP6kn7pZQ8alk8sih5+ZbdAoFTpwGMWBslDHOGzovY3V7mnphg0vZzw+wBv9YASXOYKiJ2yG7ZRBTCtbEjudHWE4RJpjTtorg8NzZeCoJwRViZ7GRBK6jXweO4qWc0Y/SZmp1oxIyTQlpXrT+XmbNiXdfmeaP0laFigik0cFW6ElO3UC+o8Fz3+vWveENihGYE1zjYVy/iGBwyiJPAvc6wlKIiDE3WZ8R4lk7tIAeEvs+UeNaiin7iYw2Eeateo6RPM7O2DCUvswNrbEs8wILPYH58F949eC+sXV7VQIQoj2MERD22KeKrSzbrdTa2iSWGGXuLnhQbiJieGJ15VvvLqxOuDm7ES67Jy37D5826yiXZ1qDbEBkBvTNGASYUxVNH/HCMqO096lDdSXz5WSPaIZHRQN4EH92PtUhrKsm1QcoQcm9SQ0vvfOEnjbmKsBH0+QNgBpC++vytiNJ7mNp8J26/3WrQBjbEXyOiCk6cJ0ST6/s4EXTtPLvAMWr+qMr1etOqlhM5SH1a+Fcce7bMAUni6oStgBk1Iu1SXbMUENF/51nMEdPkdiJUE8vW2qg/VmKhFNl+mPN6XuXfUVO7t5DkuxQoK/Mp2+X+J84MTeG26enkykqO0vHaS8nXkg5jworJ7aUrPtxLf80RCJc2hhmnooczTCMJL4InUUAyNKpY6tGXSwXAOlJIScYEnVopQSo4NoV1JiJDJlwlH7LfkJ9CWKidJFiVW1XASytyWiNl26fBROveSlwuDZdayKgrAagRpTmEd2F7k9SpFnz7H+RbyU3ocoUWEUIKXVWN3y0hQw5Y5/UL07E4F0a3BZIrobACtzPltoJKbxF+NoGWXeU05dnKfHql5PdW7AM9jkuxsVylgvfnI0bVS+6VqOHJn88ZBiOg6QfZMXzDQhgiXaVcCDWMeRU6EJjhiwb2ZcIw5xHmlRIJjfavvqmlpBnKCJs0frzp8B1DIZoUwA+HMqWfHN3c4GCtVEr6tSdBKG109DbKY/NT3hTQWQgaFyqQ+eJvuka4bKiePPlhbQNs2xYiK8xrfD1IvlEy4jNNCgkBHFNH4a32w45+CNc0eDYHcoa3Jb+Xm8+JR5xrWuHskEC5n8mHBNRfd0wUK8RQV/GELueZBPBOj4VvE/ytqnysiuBqbzwrWtGw1fYJtOrjyr4ZpPKlwbI9vN5O4YD3vCJr3wF/ItcdOP8JO2HRwEYPnpO0zcyBliqLV7cnznnhyO+WJ9RRCqBMyfRrup+qL0FCybD2OOnK23xHz7SekSNncQlDzGEgBfNWgV8PKhhP8XV6rrmwM5KgBpqy/gK0P/kT92JwY+QA0QAZiePbCb5cc1OW6KVrGigDMM5c0wtPPHEJHqEfHcsKtZ38cMcaYowuN2PmGr0Ws/Ub4SVOlrPxyHMeP+cTYLrgwO0+AaVWPmPZkf6GNqn9BYcy1slgTwUbUTeg+JBsQTpUJdinJ4IiGBVMLa9KRYgREWrWIJn5RITBl+GMUxda3zU5ZqG5A7j+Nx+Cu/6W39bbgmdUlBItRtemzq+ObxxmNCQyrZMgenxuYjdRwITgk16QlUC/6ynnF7S4LQXWzL07PHLcDzDTZquYNwjJIK+FnWDh2AUE8AY5K4bMfWaXFqPDRUXv1Y7tg5iNubMylvbn8wZaV6awcKR/MN8+ICfSNgZ4Pd7ZEGFmnNUykFUF7xsD6QBcx7oBO3gNpER5dZdl7Tw1NXKnGHZxAwg7DP00KV+E2Sc9vZpS7LVGLC70tYCW9pVL+wMdoX2HW4lvkuHu4xeqrFdqFay28xNq7BQ/0Jcr1NI5DwJk+CkwIpiFuSnZv5TeGdq8kMjNskIr8Kq2iyxObuZQb71O3RbgDehWjQDfn+l4wM+Dx917fa/4q79lQiJ1EuDgoIZcwYfIWpYUZdX4XVrYhxqV4vqHZoseFqmfs+ND9DhBZ2y/+YnWu3xKq9GNPM0O2EFJi9LGzEb22h2GpB5kJPzq4wfPUKv6A+HYbX7qZXfLIjgm7tIItqxw+ZF3PKOswx0jEizP/4RyPvitfvU4KuRO1JKD/Wa60r8mxCna+bl62St+NU4hCwlzm2PC4mXQpg/D9/hD0RIaoorw6Gg3CNhZnDpyH1Ea3DCPHXBCnt0ayymITMpKa71VS3P1YzMq1zRcxmfVWbDDgU6nIEWjQkXaj+KZH4kBhMmNV4uG7ElVD+flcT7j0JQVxjoLcw==">
            <a:extLst>
              <a:ext uri="{FF2B5EF4-FFF2-40B4-BE49-F238E27FC236}">
                <a16:creationId xmlns:a16="http://schemas.microsoft.com/office/drawing/2014/main" id="{B521818C-109C-CE4B-6B57-66AB170B597F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333165" y="2027035"/>
            <a:ext cx="11525143" cy="4377209"/>
          </a:xfrm>
          <a:prstGeom prst="rect">
            <a:avLst/>
          </a:prstGeom>
          <a:blipFill>
            <a:blip r:embed="rId10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75433516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A4FC8D8F-1617-4B0F-B608-D88591E3A5F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9622800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Diapositiva think-cell" r:id="rId26" imgW="592" imgH="595" progId="TCLayout.ActiveDocument.1">
                  <p:embed/>
                </p:oleObj>
              </mc:Choice>
              <mc:Fallback>
                <p:oleObj name="Diapositiva think-cell" r:id="rId26" imgW="592" imgH="595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A4FC8D8F-1617-4B0F-B608-D88591E3A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btfpRunningAgenda2LevelBarRight587740">
            <a:extLst>
              <a:ext uri="{FF2B5EF4-FFF2-40B4-BE49-F238E27FC236}">
                <a16:creationId xmlns:a16="http://schemas.microsoft.com/office/drawing/2014/main" id="{AB1BAACE-5DC5-4084-9B99-80475934498B}"/>
              </a:ext>
            </a:extLst>
          </p:cNvPr>
          <p:cNvSpPr/>
          <p:nvPr/>
        </p:nvSpPr>
        <p:spPr bwMode="gray">
          <a:xfrm>
            <a:off x="3185197" y="944429"/>
            <a:ext cx="4803217" cy="257442"/>
          </a:xfrm>
          <a:custGeom>
            <a:avLst/>
            <a:gdLst>
              <a:gd name="connsiteX0" fmla="*/ 950801 w 2367856"/>
              <a:gd name="connsiteY0" fmla="*/ 0 h 257442"/>
              <a:gd name="connsiteX1" fmla="*/ 2367856 w 2367856"/>
              <a:gd name="connsiteY1" fmla="*/ 0 h 257442"/>
              <a:gd name="connsiteX2" fmla="*/ 2313135 w 2367856"/>
              <a:gd name="connsiteY2" fmla="*/ 257442 h 257442"/>
              <a:gd name="connsiteX3" fmla="*/ 0 w 2367856"/>
              <a:gd name="connsiteY3" fmla="*/ 257442 h 257442"/>
              <a:gd name="connsiteX0" fmla="*/ 950801 w 2313135"/>
              <a:gd name="connsiteY0" fmla="*/ 0 h 257442"/>
              <a:gd name="connsiteX1" fmla="*/ 896080 w 2313135"/>
              <a:gd name="connsiteY1" fmla="*/ 257442 h 257442"/>
              <a:gd name="connsiteX2" fmla="*/ 2313135 w 2313135"/>
              <a:gd name="connsiteY2" fmla="*/ 257442 h 257442"/>
              <a:gd name="connsiteX3" fmla="*/ 0 w 2313135"/>
              <a:gd name="connsiteY3" fmla="*/ 257442 h 257442"/>
              <a:gd name="connsiteX0" fmla="*/ 950801 w 950801"/>
              <a:gd name="connsiteY0" fmla="*/ 0 h 257442"/>
              <a:gd name="connsiteX1" fmla="*/ 896080 w 950801"/>
              <a:gd name="connsiteY1" fmla="*/ 257442 h 257442"/>
              <a:gd name="connsiteX2" fmla="*/ 1 w 950801"/>
              <a:gd name="connsiteY2" fmla="*/ 257442 h 257442"/>
              <a:gd name="connsiteX3" fmla="*/ 0 w 950801"/>
              <a:gd name="connsiteY3" fmla="*/ 257442 h 257442"/>
              <a:gd name="connsiteX0" fmla="*/ 950800 w 950800"/>
              <a:gd name="connsiteY0" fmla="*/ 0 h 257442"/>
              <a:gd name="connsiteX1" fmla="*/ 896079 w 950800"/>
              <a:gd name="connsiteY1" fmla="*/ 257442 h 257442"/>
              <a:gd name="connsiteX2" fmla="*/ 0 w 950800"/>
              <a:gd name="connsiteY2" fmla="*/ 257442 h 257442"/>
              <a:gd name="connsiteX3" fmla="*/ 54721 w 950800"/>
              <a:gd name="connsiteY3" fmla="*/ 0 h 257442"/>
              <a:gd name="connsiteX0" fmla="*/ 1111100 w 1111100"/>
              <a:gd name="connsiteY0" fmla="*/ 0 h 257442"/>
              <a:gd name="connsiteX1" fmla="*/ 896079 w 1111100"/>
              <a:gd name="connsiteY1" fmla="*/ 257442 h 257442"/>
              <a:gd name="connsiteX2" fmla="*/ 0 w 1111100"/>
              <a:gd name="connsiteY2" fmla="*/ 257442 h 257442"/>
              <a:gd name="connsiteX3" fmla="*/ 54721 w 1111100"/>
              <a:gd name="connsiteY3" fmla="*/ 0 h 257442"/>
              <a:gd name="connsiteX0" fmla="*/ 1111100 w 1111100"/>
              <a:gd name="connsiteY0" fmla="*/ 0 h 257442"/>
              <a:gd name="connsiteX1" fmla="*/ 1056379 w 1111100"/>
              <a:gd name="connsiteY1" fmla="*/ 257442 h 257442"/>
              <a:gd name="connsiteX2" fmla="*/ 0 w 1111100"/>
              <a:gd name="connsiteY2" fmla="*/ 257442 h 257442"/>
              <a:gd name="connsiteX3" fmla="*/ 54721 w 1111100"/>
              <a:gd name="connsiteY3" fmla="*/ 0 h 257442"/>
              <a:gd name="connsiteX0" fmla="*/ 1111101 w 1111101"/>
              <a:gd name="connsiteY0" fmla="*/ 0 h 257442"/>
              <a:gd name="connsiteX1" fmla="*/ 1056380 w 1111101"/>
              <a:gd name="connsiteY1" fmla="*/ 257442 h 257442"/>
              <a:gd name="connsiteX2" fmla="*/ 0 w 1111101"/>
              <a:gd name="connsiteY2" fmla="*/ 257442 h 257442"/>
              <a:gd name="connsiteX3" fmla="*/ 54722 w 1111101"/>
              <a:gd name="connsiteY3" fmla="*/ 0 h 257442"/>
              <a:gd name="connsiteX0" fmla="*/ 1111101 w 1111101"/>
              <a:gd name="connsiteY0" fmla="*/ 0 h 257442"/>
              <a:gd name="connsiteX1" fmla="*/ 1056380 w 1111101"/>
              <a:gd name="connsiteY1" fmla="*/ 257442 h 257442"/>
              <a:gd name="connsiteX2" fmla="*/ 0 w 1111101"/>
              <a:gd name="connsiteY2" fmla="*/ 257442 h 257442"/>
              <a:gd name="connsiteX3" fmla="*/ 54722 w 1111101"/>
              <a:gd name="connsiteY3" fmla="*/ 0 h 257442"/>
              <a:gd name="connsiteX0" fmla="*/ 1279417 w 1279417"/>
              <a:gd name="connsiteY0" fmla="*/ 0 h 257442"/>
              <a:gd name="connsiteX1" fmla="*/ 1056380 w 1279417"/>
              <a:gd name="connsiteY1" fmla="*/ 257442 h 257442"/>
              <a:gd name="connsiteX2" fmla="*/ 0 w 1279417"/>
              <a:gd name="connsiteY2" fmla="*/ 257442 h 257442"/>
              <a:gd name="connsiteX3" fmla="*/ 54722 w 1279417"/>
              <a:gd name="connsiteY3" fmla="*/ 0 h 257442"/>
              <a:gd name="connsiteX0" fmla="*/ 1279417 w 1279417"/>
              <a:gd name="connsiteY0" fmla="*/ 0 h 257442"/>
              <a:gd name="connsiteX1" fmla="*/ 1224696 w 1279417"/>
              <a:gd name="connsiteY1" fmla="*/ 257442 h 257442"/>
              <a:gd name="connsiteX2" fmla="*/ 0 w 1279417"/>
              <a:gd name="connsiteY2" fmla="*/ 257442 h 257442"/>
              <a:gd name="connsiteX3" fmla="*/ 54722 w 1279417"/>
              <a:gd name="connsiteY3" fmla="*/ 0 h 257442"/>
              <a:gd name="connsiteX0" fmla="*/ 1279416 w 1279416"/>
              <a:gd name="connsiteY0" fmla="*/ 0 h 257442"/>
              <a:gd name="connsiteX1" fmla="*/ 1224695 w 1279416"/>
              <a:gd name="connsiteY1" fmla="*/ 257442 h 257442"/>
              <a:gd name="connsiteX2" fmla="*/ 0 w 1279416"/>
              <a:gd name="connsiteY2" fmla="*/ 257442 h 257442"/>
              <a:gd name="connsiteX3" fmla="*/ 54721 w 1279416"/>
              <a:gd name="connsiteY3" fmla="*/ 0 h 257442"/>
              <a:gd name="connsiteX0" fmla="*/ 1279416 w 1279416"/>
              <a:gd name="connsiteY0" fmla="*/ 0 h 257442"/>
              <a:gd name="connsiteX1" fmla="*/ 1224695 w 1279416"/>
              <a:gd name="connsiteY1" fmla="*/ 257442 h 257442"/>
              <a:gd name="connsiteX2" fmla="*/ 0 w 1279416"/>
              <a:gd name="connsiteY2" fmla="*/ 257442 h 257442"/>
              <a:gd name="connsiteX3" fmla="*/ 54720 w 1279416"/>
              <a:gd name="connsiteY3" fmla="*/ 0 h 257442"/>
              <a:gd name="connsiteX0" fmla="*/ 1439716 w 1439716"/>
              <a:gd name="connsiteY0" fmla="*/ 0 h 257442"/>
              <a:gd name="connsiteX1" fmla="*/ 1224695 w 1439716"/>
              <a:gd name="connsiteY1" fmla="*/ 257442 h 257442"/>
              <a:gd name="connsiteX2" fmla="*/ 0 w 1439716"/>
              <a:gd name="connsiteY2" fmla="*/ 257442 h 257442"/>
              <a:gd name="connsiteX3" fmla="*/ 54720 w 1439716"/>
              <a:gd name="connsiteY3" fmla="*/ 0 h 257442"/>
              <a:gd name="connsiteX0" fmla="*/ 1439716 w 1439716"/>
              <a:gd name="connsiteY0" fmla="*/ 0 h 257442"/>
              <a:gd name="connsiteX1" fmla="*/ 1384995 w 1439716"/>
              <a:gd name="connsiteY1" fmla="*/ 257442 h 257442"/>
              <a:gd name="connsiteX2" fmla="*/ 0 w 1439716"/>
              <a:gd name="connsiteY2" fmla="*/ 257442 h 257442"/>
              <a:gd name="connsiteX3" fmla="*/ 54720 w 1439716"/>
              <a:gd name="connsiteY3" fmla="*/ 0 h 257442"/>
              <a:gd name="connsiteX0" fmla="*/ 1439717 w 1439717"/>
              <a:gd name="connsiteY0" fmla="*/ 0 h 257442"/>
              <a:gd name="connsiteX1" fmla="*/ 1384996 w 1439717"/>
              <a:gd name="connsiteY1" fmla="*/ 257442 h 257442"/>
              <a:gd name="connsiteX2" fmla="*/ 0 w 1439717"/>
              <a:gd name="connsiteY2" fmla="*/ 257442 h 257442"/>
              <a:gd name="connsiteX3" fmla="*/ 54721 w 1439717"/>
              <a:gd name="connsiteY3" fmla="*/ 0 h 257442"/>
              <a:gd name="connsiteX0" fmla="*/ 1439717 w 1439717"/>
              <a:gd name="connsiteY0" fmla="*/ 0 h 257442"/>
              <a:gd name="connsiteX1" fmla="*/ 1384996 w 1439717"/>
              <a:gd name="connsiteY1" fmla="*/ 257442 h 257442"/>
              <a:gd name="connsiteX2" fmla="*/ 0 w 1439717"/>
              <a:gd name="connsiteY2" fmla="*/ 257442 h 257442"/>
              <a:gd name="connsiteX3" fmla="*/ 54722 w 1439717"/>
              <a:gd name="connsiteY3" fmla="*/ 0 h 257442"/>
              <a:gd name="connsiteX0" fmla="*/ 1617651 w 1617651"/>
              <a:gd name="connsiteY0" fmla="*/ 0 h 257442"/>
              <a:gd name="connsiteX1" fmla="*/ 1384996 w 1617651"/>
              <a:gd name="connsiteY1" fmla="*/ 257442 h 257442"/>
              <a:gd name="connsiteX2" fmla="*/ 0 w 1617651"/>
              <a:gd name="connsiteY2" fmla="*/ 257442 h 257442"/>
              <a:gd name="connsiteX3" fmla="*/ 54722 w 1617651"/>
              <a:gd name="connsiteY3" fmla="*/ 0 h 257442"/>
              <a:gd name="connsiteX0" fmla="*/ 1617651 w 1617651"/>
              <a:gd name="connsiteY0" fmla="*/ 0 h 257442"/>
              <a:gd name="connsiteX1" fmla="*/ 1562930 w 1617651"/>
              <a:gd name="connsiteY1" fmla="*/ 257442 h 257442"/>
              <a:gd name="connsiteX2" fmla="*/ 0 w 1617651"/>
              <a:gd name="connsiteY2" fmla="*/ 257442 h 257442"/>
              <a:gd name="connsiteX3" fmla="*/ 54722 w 1617651"/>
              <a:gd name="connsiteY3" fmla="*/ 0 h 257442"/>
              <a:gd name="connsiteX0" fmla="*/ 1617650 w 1617650"/>
              <a:gd name="connsiteY0" fmla="*/ 0 h 257442"/>
              <a:gd name="connsiteX1" fmla="*/ 1562929 w 1617650"/>
              <a:gd name="connsiteY1" fmla="*/ 257442 h 257442"/>
              <a:gd name="connsiteX2" fmla="*/ 0 w 1617650"/>
              <a:gd name="connsiteY2" fmla="*/ 257442 h 257442"/>
              <a:gd name="connsiteX3" fmla="*/ 54721 w 1617650"/>
              <a:gd name="connsiteY3" fmla="*/ 0 h 257442"/>
              <a:gd name="connsiteX0" fmla="*/ 1617650 w 1617650"/>
              <a:gd name="connsiteY0" fmla="*/ 0 h 257442"/>
              <a:gd name="connsiteX1" fmla="*/ 1562929 w 1617650"/>
              <a:gd name="connsiteY1" fmla="*/ 257442 h 257442"/>
              <a:gd name="connsiteX2" fmla="*/ 0 w 1617650"/>
              <a:gd name="connsiteY2" fmla="*/ 257442 h 257442"/>
              <a:gd name="connsiteX3" fmla="*/ 54720 w 1617650"/>
              <a:gd name="connsiteY3" fmla="*/ 0 h 257442"/>
              <a:gd name="connsiteX0" fmla="*/ 1785964 w 1785964"/>
              <a:gd name="connsiteY0" fmla="*/ 0 h 257442"/>
              <a:gd name="connsiteX1" fmla="*/ 1562929 w 1785964"/>
              <a:gd name="connsiteY1" fmla="*/ 257442 h 257442"/>
              <a:gd name="connsiteX2" fmla="*/ 0 w 1785964"/>
              <a:gd name="connsiteY2" fmla="*/ 257442 h 257442"/>
              <a:gd name="connsiteX3" fmla="*/ 54720 w 1785964"/>
              <a:gd name="connsiteY3" fmla="*/ 0 h 257442"/>
              <a:gd name="connsiteX0" fmla="*/ 1785964 w 1785964"/>
              <a:gd name="connsiteY0" fmla="*/ 0 h 257442"/>
              <a:gd name="connsiteX1" fmla="*/ 1731243 w 1785964"/>
              <a:gd name="connsiteY1" fmla="*/ 257442 h 257442"/>
              <a:gd name="connsiteX2" fmla="*/ 0 w 1785964"/>
              <a:gd name="connsiteY2" fmla="*/ 257442 h 257442"/>
              <a:gd name="connsiteX3" fmla="*/ 54720 w 1785964"/>
              <a:gd name="connsiteY3" fmla="*/ 0 h 257442"/>
              <a:gd name="connsiteX0" fmla="*/ 1785965 w 1785965"/>
              <a:gd name="connsiteY0" fmla="*/ 0 h 257442"/>
              <a:gd name="connsiteX1" fmla="*/ 1731244 w 1785965"/>
              <a:gd name="connsiteY1" fmla="*/ 257442 h 257442"/>
              <a:gd name="connsiteX2" fmla="*/ 0 w 1785965"/>
              <a:gd name="connsiteY2" fmla="*/ 257442 h 257442"/>
              <a:gd name="connsiteX3" fmla="*/ 54721 w 1785965"/>
              <a:gd name="connsiteY3" fmla="*/ 0 h 257442"/>
              <a:gd name="connsiteX0" fmla="*/ 1785965 w 1785965"/>
              <a:gd name="connsiteY0" fmla="*/ 0 h 257442"/>
              <a:gd name="connsiteX1" fmla="*/ 1731244 w 1785965"/>
              <a:gd name="connsiteY1" fmla="*/ 257442 h 257442"/>
              <a:gd name="connsiteX2" fmla="*/ 0 w 1785965"/>
              <a:gd name="connsiteY2" fmla="*/ 257442 h 257442"/>
              <a:gd name="connsiteX3" fmla="*/ 54722 w 1785965"/>
              <a:gd name="connsiteY3" fmla="*/ 0 h 257442"/>
              <a:gd name="connsiteX0" fmla="*/ 1946266 w 1946266"/>
              <a:gd name="connsiteY0" fmla="*/ 0 h 257442"/>
              <a:gd name="connsiteX1" fmla="*/ 1731244 w 1946266"/>
              <a:gd name="connsiteY1" fmla="*/ 257442 h 257442"/>
              <a:gd name="connsiteX2" fmla="*/ 0 w 1946266"/>
              <a:gd name="connsiteY2" fmla="*/ 257442 h 257442"/>
              <a:gd name="connsiteX3" fmla="*/ 54722 w 1946266"/>
              <a:gd name="connsiteY3" fmla="*/ 0 h 257442"/>
              <a:gd name="connsiteX0" fmla="*/ 1946266 w 1946266"/>
              <a:gd name="connsiteY0" fmla="*/ 0 h 257442"/>
              <a:gd name="connsiteX1" fmla="*/ 1891544 w 1946266"/>
              <a:gd name="connsiteY1" fmla="*/ 257442 h 257442"/>
              <a:gd name="connsiteX2" fmla="*/ 0 w 1946266"/>
              <a:gd name="connsiteY2" fmla="*/ 257442 h 257442"/>
              <a:gd name="connsiteX3" fmla="*/ 54722 w 1946266"/>
              <a:gd name="connsiteY3" fmla="*/ 0 h 257442"/>
              <a:gd name="connsiteX0" fmla="*/ 1946266 w 1946266"/>
              <a:gd name="connsiteY0" fmla="*/ 0 h 257442"/>
              <a:gd name="connsiteX1" fmla="*/ 1891544 w 1946266"/>
              <a:gd name="connsiteY1" fmla="*/ 257442 h 257442"/>
              <a:gd name="connsiteX2" fmla="*/ 0 w 1946266"/>
              <a:gd name="connsiteY2" fmla="*/ 257442 h 257442"/>
              <a:gd name="connsiteX3" fmla="*/ 54722 w 1946266"/>
              <a:gd name="connsiteY3" fmla="*/ 0 h 257442"/>
              <a:gd name="connsiteX0" fmla="*/ 1946266 w 1946266"/>
              <a:gd name="connsiteY0" fmla="*/ 0 h 257442"/>
              <a:gd name="connsiteX1" fmla="*/ 1891544 w 1946266"/>
              <a:gd name="connsiteY1" fmla="*/ 257442 h 257442"/>
              <a:gd name="connsiteX2" fmla="*/ 0 w 1946266"/>
              <a:gd name="connsiteY2" fmla="*/ 257442 h 257442"/>
              <a:gd name="connsiteX3" fmla="*/ 54721 w 1946266"/>
              <a:gd name="connsiteY3" fmla="*/ 0 h 257442"/>
              <a:gd name="connsiteX0" fmla="*/ 2199540 w 2199540"/>
              <a:gd name="connsiteY0" fmla="*/ 0 h 257442"/>
              <a:gd name="connsiteX1" fmla="*/ 1891544 w 2199540"/>
              <a:gd name="connsiteY1" fmla="*/ 257442 h 257442"/>
              <a:gd name="connsiteX2" fmla="*/ 0 w 2199540"/>
              <a:gd name="connsiteY2" fmla="*/ 257442 h 257442"/>
              <a:gd name="connsiteX3" fmla="*/ 54721 w 2199540"/>
              <a:gd name="connsiteY3" fmla="*/ 0 h 257442"/>
              <a:gd name="connsiteX0" fmla="*/ 2199540 w 2199540"/>
              <a:gd name="connsiteY0" fmla="*/ 0 h 257442"/>
              <a:gd name="connsiteX1" fmla="*/ 2144819 w 2199540"/>
              <a:gd name="connsiteY1" fmla="*/ 257442 h 257442"/>
              <a:gd name="connsiteX2" fmla="*/ 0 w 2199540"/>
              <a:gd name="connsiteY2" fmla="*/ 257442 h 257442"/>
              <a:gd name="connsiteX3" fmla="*/ 54721 w 2199540"/>
              <a:gd name="connsiteY3" fmla="*/ 0 h 257442"/>
              <a:gd name="connsiteX0" fmla="*/ 2199540 w 2199540"/>
              <a:gd name="connsiteY0" fmla="*/ 0 h 257442"/>
              <a:gd name="connsiteX1" fmla="*/ 2144819 w 2199540"/>
              <a:gd name="connsiteY1" fmla="*/ 257442 h 257442"/>
              <a:gd name="connsiteX2" fmla="*/ 0 w 2199540"/>
              <a:gd name="connsiteY2" fmla="*/ 257442 h 257442"/>
              <a:gd name="connsiteX3" fmla="*/ 54721 w 2199540"/>
              <a:gd name="connsiteY3" fmla="*/ 0 h 257442"/>
              <a:gd name="connsiteX0" fmla="*/ 2199540 w 2199540"/>
              <a:gd name="connsiteY0" fmla="*/ 0 h 257442"/>
              <a:gd name="connsiteX1" fmla="*/ 2144819 w 2199540"/>
              <a:gd name="connsiteY1" fmla="*/ 257442 h 257442"/>
              <a:gd name="connsiteX2" fmla="*/ 0 w 2199540"/>
              <a:gd name="connsiteY2" fmla="*/ 257442 h 257442"/>
              <a:gd name="connsiteX3" fmla="*/ 54721 w 2199540"/>
              <a:gd name="connsiteY3" fmla="*/ 0 h 257442"/>
              <a:gd name="connsiteX0" fmla="*/ 2377474 w 2377474"/>
              <a:gd name="connsiteY0" fmla="*/ 0 h 257442"/>
              <a:gd name="connsiteX1" fmla="*/ 2144819 w 2377474"/>
              <a:gd name="connsiteY1" fmla="*/ 257442 h 257442"/>
              <a:gd name="connsiteX2" fmla="*/ 0 w 2377474"/>
              <a:gd name="connsiteY2" fmla="*/ 257442 h 257442"/>
              <a:gd name="connsiteX3" fmla="*/ 54721 w 2377474"/>
              <a:gd name="connsiteY3" fmla="*/ 0 h 257442"/>
              <a:gd name="connsiteX0" fmla="*/ 2377474 w 2377474"/>
              <a:gd name="connsiteY0" fmla="*/ 0 h 257442"/>
              <a:gd name="connsiteX1" fmla="*/ 2322753 w 2377474"/>
              <a:gd name="connsiteY1" fmla="*/ 257442 h 257442"/>
              <a:gd name="connsiteX2" fmla="*/ 0 w 2377474"/>
              <a:gd name="connsiteY2" fmla="*/ 257442 h 257442"/>
              <a:gd name="connsiteX3" fmla="*/ 54721 w 2377474"/>
              <a:gd name="connsiteY3" fmla="*/ 0 h 257442"/>
              <a:gd name="connsiteX0" fmla="*/ 2377474 w 2377474"/>
              <a:gd name="connsiteY0" fmla="*/ 0 h 257442"/>
              <a:gd name="connsiteX1" fmla="*/ 2322753 w 2377474"/>
              <a:gd name="connsiteY1" fmla="*/ 257442 h 257442"/>
              <a:gd name="connsiteX2" fmla="*/ 0 w 2377474"/>
              <a:gd name="connsiteY2" fmla="*/ 257442 h 257442"/>
              <a:gd name="connsiteX3" fmla="*/ 54721 w 2377474"/>
              <a:gd name="connsiteY3" fmla="*/ 0 h 257442"/>
              <a:gd name="connsiteX0" fmla="*/ 2377474 w 2377474"/>
              <a:gd name="connsiteY0" fmla="*/ 0 h 257442"/>
              <a:gd name="connsiteX1" fmla="*/ 2322753 w 2377474"/>
              <a:gd name="connsiteY1" fmla="*/ 257442 h 257442"/>
              <a:gd name="connsiteX2" fmla="*/ 0 w 2377474"/>
              <a:gd name="connsiteY2" fmla="*/ 257442 h 257442"/>
              <a:gd name="connsiteX3" fmla="*/ 54721 w 2377474"/>
              <a:gd name="connsiteY3" fmla="*/ 0 h 257442"/>
              <a:gd name="connsiteX0" fmla="*/ 2545789 w 2545789"/>
              <a:gd name="connsiteY0" fmla="*/ 0 h 257442"/>
              <a:gd name="connsiteX1" fmla="*/ 2322753 w 2545789"/>
              <a:gd name="connsiteY1" fmla="*/ 257442 h 257442"/>
              <a:gd name="connsiteX2" fmla="*/ 0 w 2545789"/>
              <a:gd name="connsiteY2" fmla="*/ 257442 h 257442"/>
              <a:gd name="connsiteX3" fmla="*/ 54721 w 2545789"/>
              <a:gd name="connsiteY3" fmla="*/ 0 h 257442"/>
              <a:gd name="connsiteX0" fmla="*/ 2545789 w 2545789"/>
              <a:gd name="connsiteY0" fmla="*/ 0 h 257442"/>
              <a:gd name="connsiteX1" fmla="*/ 2491068 w 2545789"/>
              <a:gd name="connsiteY1" fmla="*/ 257442 h 257442"/>
              <a:gd name="connsiteX2" fmla="*/ 0 w 2545789"/>
              <a:gd name="connsiteY2" fmla="*/ 257442 h 257442"/>
              <a:gd name="connsiteX3" fmla="*/ 54721 w 2545789"/>
              <a:gd name="connsiteY3" fmla="*/ 0 h 257442"/>
              <a:gd name="connsiteX0" fmla="*/ 2545789 w 2545789"/>
              <a:gd name="connsiteY0" fmla="*/ 0 h 257442"/>
              <a:gd name="connsiteX1" fmla="*/ 2491068 w 2545789"/>
              <a:gd name="connsiteY1" fmla="*/ 257442 h 257442"/>
              <a:gd name="connsiteX2" fmla="*/ 0 w 2545789"/>
              <a:gd name="connsiteY2" fmla="*/ 257442 h 257442"/>
              <a:gd name="connsiteX3" fmla="*/ 54721 w 2545789"/>
              <a:gd name="connsiteY3" fmla="*/ 0 h 257442"/>
              <a:gd name="connsiteX0" fmla="*/ 2545789 w 2545789"/>
              <a:gd name="connsiteY0" fmla="*/ 0 h 257442"/>
              <a:gd name="connsiteX1" fmla="*/ 2491068 w 2545789"/>
              <a:gd name="connsiteY1" fmla="*/ 257442 h 257442"/>
              <a:gd name="connsiteX2" fmla="*/ 0 w 2545789"/>
              <a:gd name="connsiteY2" fmla="*/ 257442 h 257442"/>
              <a:gd name="connsiteX3" fmla="*/ 54721 w 2545789"/>
              <a:gd name="connsiteY3" fmla="*/ 0 h 257442"/>
              <a:gd name="connsiteX0" fmla="*/ 2807079 w 2807079"/>
              <a:gd name="connsiteY0" fmla="*/ 0 h 257442"/>
              <a:gd name="connsiteX1" fmla="*/ 2491068 w 2807079"/>
              <a:gd name="connsiteY1" fmla="*/ 257442 h 257442"/>
              <a:gd name="connsiteX2" fmla="*/ 0 w 2807079"/>
              <a:gd name="connsiteY2" fmla="*/ 257442 h 257442"/>
              <a:gd name="connsiteX3" fmla="*/ 54721 w 2807079"/>
              <a:gd name="connsiteY3" fmla="*/ 0 h 257442"/>
              <a:gd name="connsiteX0" fmla="*/ 2807079 w 2807079"/>
              <a:gd name="connsiteY0" fmla="*/ 0 h 257442"/>
              <a:gd name="connsiteX1" fmla="*/ 2752358 w 2807079"/>
              <a:gd name="connsiteY1" fmla="*/ 257442 h 257442"/>
              <a:gd name="connsiteX2" fmla="*/ 0 w 2807079"/>
              <a:gd name="connsiteY2" fmla="*/ 257442 h 257442"/>
              <a:gd name="connsiteX3" fmla="*/ 54721 w 2807079"/>
              <a:gd name="connsiteY3" fmla="*/ 0 h 257442"/>
              <a:gd name="connsiteX0" fmla="*/ 2807079 w 2807079"/>
              <a:gd name="connsiteY0" fmla="*/ 0 h 257442"/>
              <a:gd name="connsiteX1" fmla="*/ 2752358 w 2807079"/>
              <a:gd name="connsiteY1" fmla="*/ 257442 h 257442"/>
              <a:gd name="connsiteX2" fmla="*/ 0 w 2807079"/>
              <a:gd name="connsiteY2" fmla="*/ 257442 h 257442"/>
              <a:gd name="connsiteX3" fmla="*/ 54721 w 2807079"/>
              <a:gd name="connsiteY3" fmla="*/ 0 h 257442"/>
              <a:gd name="connsiteX0" fmla="*/ 2807079 w 2807079"/>
              <a:gd name="connsiteY0" fmla="*/ 0 h 257442"/>
              <a:gd name="connsiteX1" fmla="*/ 2752358 w 2807079"/>
              <a:gd name="connsiteY1" fmla="*/ 257442 h 257442"/>
              <a:gd name="connsiteX2" fmla="*/ 0 w 2807079"/>
              <a:gd name="connsiteY2" fmla="*/ 257442 h 257442"/>
              <a:gd name="connsiteX3" fmla="*/ 54721 w 2807079"/>
              <a:gd name="connsiteY3" fmla="*/ 0 h 257442"/>
              <a:gd name="connsiteX0" fmla="*/ 2975393 w 2975393"/>
              <a:gd name="connsiteY0" fmla="*/ 0 h 257442"/>
              <a:gd name="connsiteX1" fmla="*/ 2752358 w 2975393"/>
              <a:gd name="connsiteY1" fmla="*/ 257442 h 257442"/>
              <a:gd name="connsiteX2" fmla="*/ 0 w 2975393"/>
              <a:gd name="connsiteY2" fmla="*/ 257442 h 257442"/>
              <a:gd name="connsiteX3" fmla="*/ 54721 w 2975393"/>
              <a:gd name="connsiteY3" fmla="*/ 0 h 257442"/>
              <a:gd name="connsiteX0" fmla="*/ 2975393 w 2975393"/>
              <a:gd name="connsiteY0" fmla="*/ 0 h 257442"/>
              <a:gd name="connsiteX1" fmla="*/ 2920672 w 2975393"/>
              <a:gd name="connsiteY1" fmla="*/ 257442 h 257442"/>
              <a:gd name="connsiteX2" fmla="*/ 0 w 2975393"/>
              <a:gd name="connsiteY2" fmla="*/ 257442 h 257442"/>
              <a:gd name="connsiteX3" fmla="*/ 54721 w 2975393"/>
              <a:gd name="connsiteY3" fmla="*/ 0 h 257442"/>
              <a:gd name="connsiteX0" fmla="*/ 2975393 w 2975393"/>
              <a:gd name="connsiteY0" fmla="*/ 0 h 257442"/>
              <a:gd name="connsiteX1" fmla="*/ 2920672 w 2975393"/>
              <a:gd name="connsiteY1" fmla="*/ 257442 h 257442"/>
              <a:gd name="connsiteX2" fmla="*/ 0 w 2975393"/>
              <a:gd name="connsiteY2" fmla="*/ 257442 h 257442"/>
              <a:gd name="connsiteX3" fmla="*/ 54721 w 2975393"/>
              <a:gd name="connsiteY3" fmla="*/ 0 h 257442"/>
              <a:gd name="connsiteX0" fmla="*/ 2975393 w 2975393"/>
              <a:gd name="connsiteY0" fmla="*/ 0 h 257442"/>
              <a:gd name="connsiteX1" fmla="*/ 2920672 w 2975393"/>
              <a:gd name="connsiteY1" fmla="*/ 257442 h 257442"/>
              <a:gd name="connsiteX2" fmla="*/ 0 w 2975393"/>
              <a:gd name="connsiteY2" fmla="*/ 257442 h 257442"/>
              <a:gd name="connsiteX3" fmla="*/ 54721 w 2975393"/>
              <a:gd name="connsiteY3" fmla="*/ 0 h 257442"/>
              <a:gd name="connsiteX0" fmla="*/ 3143708 w 3143708"/>
              <a:gd name="connsiteY0" fmla="*/ 0 h 257442"/>
              <a:gd name="connsiteX1" fmla="*/ 2920672 w 3143708"/>
              <a:gd name="connsiteY1" fmla="*/ 257442 h 257442"/>
              <a:gd name="connsiteX2" fmla="*/ 0 w 3143708"/>
              <a:gd name="connsiteY2" fmla="*/ 257442 h 257442"/>
              <a:gd name="connsiteX3" fmla="*/ 54721 w 3143708"/>
              <a:gd name="connsiteY3" fmla="*/ 0 h 257442"/>
              <a:gd name="connsiteX0" fmla="*/ 3143708 w 3143708"/>
              <a:gd name="connsiteY0" fmla="*/ 0 h 257442"/>
              <a:gd name="connsiteX1" fmla="*/ 3088987 w 3143708"/>
              <a:gd name="connsiteY1" fmla="*/ 257442 h 257442"/>
              <a:gd name="connsiteX2" fmla="*/ 0 w 3143708"/>
              <a:gd name="connsiteY2" fmla="*/ 257442 h 257442"/>
              <a:gd name="connsiteX3" fmla="*/ 54721 w 3143708"/>
              <a:gd name="connsiteY3" fmla="*/ 0 h 257442"/>
              <a:gd name="connsiteX0" fmla="*/ 3143709 w 3143709"/>
              <a:gd name="connsiteY0" fmla="*/ 0 h 257442"/>
              <a:gd name="connsiteX1" fmla="*/ 3088988 w 3143709"/>
              <a:gd name="connsiteY1" fmla="*/ 257442 h 257442"/>
              <a:gd name="connsiteX2" fmla="*/ 0 w 3143709"/>
              <a:gd name="connsiteY2" fmla="*/ 257442 h 257442"/>
              <a:gd name="connsiteX3" fmla="*/ 54722 w 3143709"/>
              <a:gd name="connsiteY3" fmla="*/ 0 h 257442"/>
              <a:gd name="connsiteX0" fmla="*/ 3143709 w 3143709"/>
              <a:gd name="connsiteY0" fmla="*/ 0 h 257442"/>
              <a:gd name="connsiteX1" fmla="*/ 3088988 w 3143709"/>
              <a:gd name="connsiteY1" fmla="*/ 257442 h 257442"/>
              <a:gd name="connsiteX2" fmla="*/ 0 w 3143709"/>
              <a:gd name="connsiteY2" fmla="*/ 257442 h 257442"/>
              <a:gd name="connsiteX3" fmla="*/ 54722 w 3143709"/>
              <a:gd name="connsiteY3" fmla="*/ 0 h 257442"/>
              <a:gd name="connsiteX0" fmla="*/ 3321643 w 3321643"/>
              <a:gd name="connsiteY0" fmla="*/ 0 h 257442"/>
              <a:gd name="connsiteX1" fmla="*/ 3088988 w 3321643"/>
              <a:gd name="connsiteY1" fmla="*/ 257442 h 257442"/>
              <a:gd name="connsiteX2" fmla="*/ 0 w 3321643"/>
              <a:gd name="connsiteY2" fmla="*/ 257442 h 257442"/>
              <a:gd name="connsiteX3" fmla="*/ 54722 w 3321643"/>
              <a:gd name="connsiteY3" fmla="*/ 0 h 257442"/>
              <a:gd name="connsiteX0" fmla="*/ 3321643 w 3321643"/>
              <a:gd name="connsiteY0" fmla="*/ 0 h 257442"/>
              <a:gd name="connsiteX1" fmla="*/ 3266922 w 3321643"/>
              <a:gd name="connsiteY1" fmla="*/ 257442 h 257442"/>
              <a:gd name="connsiteX2" fmla="*/ 0 w 3321643"/>
              <a:gd name="connsiteY2" fmla="*/ 257442 h 257442"/>
              <a:gd name="connsiteX3" fmla="*/ 54722 w 3321643"/>
              <a:gd name="connsiteY3" fmla="*/ 0 h 257442"/>
              <a:gd name="connsiteX0" fmla="*/ 3321642 w 3321642"/>
              <a:gd name="connsiteY0" fmla="*/ 0 h 257442"/>
              <a:gd name="connsiteX1" fmla="*/ 3266921 w 3321642"/>
              <a:gd name="connsiteY1" fmla="*/ 257442 h 257442"/>
              <a:gd name="connsiteX2" fmla="*/ 0 w 3321642"/>
              <a:gd name="connsiteY2" fmla="*/ 257442 h 257442"/>
              <a:gd name="connsiteX3" fmla="*/ 54721 w 3321642"/>
              <a:gd name="connsiteY3" fmla="*/ 0 h 257442"/>
              <a:gd name="connsiteX0" fmla="*/ 3321642 w 3321642"/>
              <a:gd name="connsiteY0" fmla="*/ 0 h 257442"/>
              <a:gd name="connsiteX1" fmla="*/ 3266921 w 3321642"/>
              <a:gd name="connsiteY1" fmla="*/ 257442 h 257442"/>
              <a:gd name="connsiteX2" fmla="*/ 0 w 3321642"/>
              <a:gd name="connsiteY2" fmla="*/ 257442 h 257442"/>
              <a:gd name="connsiteX3" fmla="*/ 54720 w 3321642"/>
              <a:gd name="connsiteY3" fmla="*/ 0 h 257442"/>
              <a:gd name="connsiteX0" fmla="*/ 3626212 w 3626212"/>
              <a:gd name="connsiteY0" fmla="*/ 0 h 257442"/>
              <a:gd name="connsiteX1" fmla="*/ 3266921 w 3626212"/>
              <a:gd name="connsiteY1" fmla="*/ 257442 h 257442"/>
              <a:gd name="connsiteX2" fmla="*/ 0 w 3626212"/>
              <a:gd name="connsiteY2" fmla="*/ 257442 h 257442"/>
              <a:gd name="connsiteX3" fmla="*/ 54720 w 3626212"/>
              <a:gd name="connsiteY3" fmla="*/ 0 h 257442"/>
              <a:gd name="connsiteX0" fmla="*/ 3626212 w 3626212"/>
              <a:gd name="connsiteY0" fmla="*/ 0 h 257442"/>
              <a:gd name="connsiteX1" fmla="*/ 3571491 w 3626212"/>
              <a:gd name="connsiteY1" fmla="*/ 257442 h 257442"/>
              <a:gd name="connsiteX2" fmla="*/ 0 w 3626212"/>
              <a:gd name="connsiteY2" fmla="*/ 257442 h 257442"/>
              <a:gd name="connsiteX3" fmla="*/ 54720 w 3626212"/>
              <a:gd name="connsiteY3" fmla="*/ 0 h 257442"/>
              <a:gd name="connsiteX0" fmla="*/ 3626213 w 3626213"/>
              <a:gd name="connsiteY0" fmla="*/ 0 h 257442"/>
              <a:gd name="connsiteX1" fmla="*/ 3571492 w 3626213"/>
              <a:gd name="connsiteY1" fmla="*/ 257442 h 257442"/>
              <a:gd name="connsiteX2" fmla="*/ 0 w 3626213"/>
              <a:gd name="connsiteY2" fmla="*/ 257442 h 257442"/>
              <a:gd name="connsiteX3" fmla="*/ 54721 w 3626213"/>
              <a:gd name="connsiteY3" fmla="*/ 0 h 257442"/>
              <a:gd name="connsiteX0" fmla="*/ 3626213 w 3626213"/>
              <a:gd name="connsiteY0" fmla="*/ 0 h 257442"/>
              <a:gd name="connsiteX1" fmla="*/ 3571492 w 3626213"/>
              <a:gd name="connsiteY1" fmla="*/ 257442 h 257442"/>
              <a:gd name="connsiteX2" fmla="*/ 0 w 3626213"/>
              <a:gd name="connsiteY2" fmla="*/ 257442 h 257442"/>
              <a:gd name="connsiteX3" fmla="*/ 54722 w 3626213"/>
              <a:gd name="connsiteY3" fmla="*/ 0 h 257442"/>
              <a:gd name="connsiteX0" fmla="*/ 3812162 w 3812162"/>
              <a:gd name="connsiteY0" fmla="*/ 0 h 257442"/>
              <a:gd name="connsiteX1" fmla="*/ 3571492 w 3812162"/>
              <a:gd name="connsiteY1" fmla="*/ 257442 h 257442"/>
              <a:gd name="connsiteX2" fmla="*/ 0 w 3812162"/>
              <a:gd name="connsiteY2" fmla="*/ 257442 h 257442"/>
              <a:gd name="connsiteX3" fmla="*/ 54722 w 3812162"/>
              <a:gd name="connsiteY3" fmla="*/ 0 h 257442"/>
              <a:gd name="connsiteX0" fmla="*/ 3812162 w 3812162"/>
              <a:gd name="connsiteY0" fmla="*/ 0 h 257442"/>
              <a:gd name="connsiteX1" fmla="*/ 3757440 w 3812162"/>
              <a:gd name="connsiteY1" fmla="*/ 257442 h 257442"/>
              <a:gd name="connsiteX2" fmla="*/ 0 w 3812162"/>
              <a:gd name="connsiteY2" fmla="*/ 257442 h 257442"/>
              <a:gd name="connsiteX3" fmla="*/ 54722 w 3812162"/>
              <a:gd name="connsiteY3" fmla="*/ 0 h 257442"/>
              <a:gd name="connsiteX0" fmla="*/ 3812162 w 3812162"/>
              <a:gd name="connsiteY0" fmla="*/ 0 h 257442"/>
              <a:gd name="connsiteX1" fmla="*/ 3757440 w 3812162"/>
              <a:gd name="connsiteY1" fmla="*/ 257442 h 257442"/>
              <a:gd name="connsiteX2" fmla="*/ 0 w 3812162"/>
              <a:gd name="connsiteY2" fmla="*/ 257442 h 257442"/>
              <a:gd name="connsiteX3" fmla="*/ 54722 w 3812162"/>
              <a:gd name="connsiteY3" fmla="*/ 0 h 257442"/>
              <a:gd name="connsiteX0" fmla="*/ 3812162 w 3812162"/>
              <a:gd name="connsiteY0" fmla="*/ 0 h 257442"/>
              <a:gd name="connsiteX1" fmla="*/ 3757440 w 3812162"/>
              <a:gd name="connsiteY1" fmla="*/ 257442 h 257442"/>
              <a:gd name="connsiteX2" fmla="*/ 0 w 3812162"/>
              <a:gd name="connsiteY2" fmla="*/ 257442 h 257442"/>
              <a:gd name="connsiteX3" fmla="*/ 54721 w 3812162"/>
              <a:gd name="connsiteY3" fmla="*/ 0 h 257442"/>
              <a:gd name="connsiteX0" fmla="*/ 3972460 w 3972460"/>
              <a:gd name="connsiteY0" fmla="*/ 0 h 257442"/>
              <a:gd name="connsiteX1" fmla="*/ 3757440 w 3972460"/>
              <a:gd name="connsiteY1" fmla="*/ 257442 h 257442"/>
              <a:gd name="connsiteX2" fmla="*/ 0 w 3972460"/>
              <a:gd name="connsiteY2" fmla="*/ 257442 h 257442"/>
              <a:gd name="connsiteX3" fmla="*/ 54721 w 3972460"/>
              <a:gd name="connsiteY3" fmla="*/ 0 h 257442"/>
              <a:gd name="connsiteX0" fmla="*/ 3972460 w 3972460"/>
              <a:gd name="connsiteY0" fmla="*/ 0 h 257442"/>
              <a:gd name="connsiteX1" fmla="*/ 3917739 w 3972460"/>
              <a:gd name="connsiteY1" fmla="*/ 257442 h 257442"/>
              <a:gd name="connsiteX2" fmla="*/ 0 w 3972460"/>
              <a:gd name="connsiteY2" fmla="*/ 257442 h 257442"/>
              <a:gd name="connsiteX3" fmla="*/ 54721 w 3972460"/>
              <a:gd name="connsiteY3" fmla="*/ 0 h 257442"/>
              <a:gd name="connsiteX0" fmla="*/ 3972460 w 3972460"/>
              <a:gd name="connsiteY0" fmla="*/ 0 h 257442"/>
              <a:gd name="connsiteX1" fmla="*/ 3917739 w 3972460"/>
              <a:gd name="connsiteY1" fmla="*/ 257442 h 257442"/>
              <a:gd name="connsiteX2" fmla="*/ 0 w 3972460"/>
              <a:gd name="connsiteY2" fmla="*/ 257442 h 257442"/>
              <a:gd name="connsiteX3" fmla="*/ 54721 w 3972460"/>
              <a:gd name="connsiteY3" fmla="*/ 0 h 257442"/>
              <a:gd name="connsiteX0" fmla="*/ 3972460 w 3972460"/>
              <a:gd name="connsiteY0" fmla="*/ 0 h 257442"/>
              <a:gd name="connsiteX1" fmla="*/ 3917739 w 3972460"/>
              <a:gd name="connsiteY1" fmla="*/ 257442 h 257442"/>
              <a:gd name="connsiteX2" fmla="*/ 0 w 3972460"/>
              <a:gd name="connsiteY2" fmla="*/ 257442 h 257442"/>
              <a:gd name="connsiteX3" fmla="*/ 54721 w 3972460"/>
              <a:gd name="connsiteY3" fmla="*/ 0 h 257442"/>
              <a:gd name="connsiteX0" fmla="*/ 4140777 w 4140777"/>
              <a:gd name="connsiteY0" fmla="*/ 0 h 257442"/>
              <a:gd name="connsiteX1" fmla="*/ 3917739 w 4140777"/>
              <a:gd name="connsiteY1" fmla="*/ 257442 h 257442"/>
              <a:gd name="connsiteX2" fmla="*/ 0 w 4140777"/>
              <a:gd name="connsiteY2" fmla="*/ 257442 h 257442"/>
              <a:gd name="connsiteX3" fmla="*/ 54721 w 4140777"/>
              <a:gd name="connsiteY3" fmla="*/ 0 h 257442"/>
              <a:gd name="connsiteX0" fmla="*/ 4140777 w 4140777"/>
              <a:gd name="connsiteY0" fmla="*/ 0 h 257442"/>
              <a:gd name="connsiteX1" fmla="*/ 4086056 w 4140777"/>
              <a:gd name="connsiteY1" fmla="*/ 257442 h 257442"/>
              <a:gd name="connsiteX2" fmla="*/ 0 w 4140777"/>
              <a:gd name="connsiteY2" fmla="*/ 257442 h 257442"/>
              <a:gd name="connsiteX3" fmla="*/ 54721 w 4140777"/>
              <a:gd name="connsiteY3" fmla="*/ 0 h 257442"/>
              <a:gd name="connsiteX0" fmla="*/ 4140777 w 4140777"/>
              <a:gd name="connsiteY0" fmla="*/ 0 h 257442"/>
              <a:gd name="connsiteX1" fmla="*/ 4086056 w 4140777"/>
              <a:gd name="connsiteY1" fmla="*/ 257442 h 257442"/>
              <a:gd name="connsiteX2" fmla="*/ 0 w 4140777"/>
              <a:gd name="connsiteY2" fmla="*/ 257442 h 257442"/>
              <a:gd name="connsiteX3" fmla="*/ 54721 w 4140777"/>
              <a:gd name="connsiteY3" fmla="*/ 0 h 257442"/>
              <a:gd name="connsiteX0" fmla="*/ 4140777 w 4140777"/>
              <a:gd name="connsiteY0" fmla="*/ 0 h 257442"/>
              <a:gd name="connsiteX1" fmla="*/ 4086056 w 4140777"/>
              <a:gd name="connsiteY1" fmla="*/ 257442 h 257442"/>
              <a:gd name="connsiteX2" fmla="*/ 0 w 4140777"/>
              <a:gd name="connsiteY2" fmla="*/ 257442 h 257442"/>
              <a:gd name="connsiteX3" fmla="*/ 54721 w 4140777"/>
              <a:gd name="connsiteY3" fmla="*/ 0 h 257442"/>
              <a:gd name="connsiteX0" fmla="*/ 950801 w 4086056"/>
              <a:gd name="connsiteY0" fmla="*/ 0 h 257442"/>
              <a:gd name="connsiteX1" fmla="*/ 4086056 w 4086056"/>
              <a:gd name="connsiteY1" fmla="*/ 257442 h 257442"/>
              <a:gd name="connsiteX2" fmla="*/ 0 w 4086056"/>
              <a:gd name="connsiteY2" fmla="*/ 257442 h 257442"/>
              <a:gd name="connsiteX3" fmla="*/ 54721 w 4086056"/>
              <a:gd name="connsiteY3" fmla="*/ 0 h 257442"/>
              <a:gd name="connsiteX0" fmla="*/ 950801 w 950801"/>
              <a:gd name="connsiteY0" fmla="*/ 0 h 257442"/>
              <a:gd name="connsiteX1" fmla="*/ 896080 w 950801"/>
              <a:gd name="connsiteY1" fmla="*/ 257442 h 257442"/>
              <a:gd name="connsiteX2" fmla="*/ 0 w 950801"/>
              <a:gd name="connsiteY2" fmla="*/ 257442 h 257442"/>
              <a:gd name="connsiteX3" fmla="*/ 54721 w 950801"/>
              <a:gd name="connsiteY3" fmla="*/ 0 h 257442"/>
              <a:gd name="connsiteX0" fmla="*/ 950800 w 950800"/>
              <a:gd name="connsiteY0" fmla="*/ 0 h 257442"/>
              <a:gd name="connsiteX1" fmla="*/ 896079 w 950800"/>
              <a:gd name="connsiteY1" fmla="*/ 257442 h 257442"/>
              <a:gd name="connsiteX2" fmla="*/ 0 w 950800"/>
              <a:gd name="connsiteY2" fmla="*/ 257442 h 257442"/>
              <a:gd name="connsiteX3" fmla="*/ 54720 w 950800"/>
              <a:gd name="connsiteY3" fmla="*/ 0 h 257442"/>
              <a:gd name="connsiteX0" fmla="*/ 950800 w 950800"/>
              <a:gd name="connsiteY0" fmla="*/ 0 h 257442"/>
              <a:gd name="connsiteX1" fmla="*/ 896079 w 950800"/>
              <a:gd name="connsiteY1" fmla="*/ 257442 h 257442"/>
              <a:gd name="connsiteX2" fmla="*/ 0 w 950800"/>
              <a:gd name="connsiteY2" fmla="*/ 257442 h 257442"/>
              <a:gd name="connsiteX3" fmla="*/ 54720 w 950800"/>
              <a:gd name="connsiteY3" fmla="*/ 0 h 257442"/>
              <a:gd name="connsiteX0" fmla="*/ 1119115 w 1119115"/>
              <a:gd name="connsiteY0" fmla="*/ 0 h 257442"/>
              <a:gd name="connsiteX1" fmla="*/ 896079 w 1119115"/>
              <a:gd name="connsiteY1" fmla="*/ 257442 h 257442"/>
              <a:gd name="connsiteX2" fmla="*/ 0 w 1119115"/>
              <a:gd name="connsiteY2" fmla="*/ 257442 h 257442"/>
              <a:gd name="connsiteX3" fmla="*/ 54720 w 1119115"/>
              <a:gd name="connsiteY3" fmla="*/ 0 h 257442"/>
              <a:gd name="connsiteX0" fmla="*/ 1119115 w 1119115"/>
              <a:gd name="connsiteY0" fmla="*/ 0 h 257442"/>
              <a:gd name="connsiteX1" fmla="*/ 1064394 w 1119115"/>
              <a:gd name="connsiteY1" fmla="*/ 257442 h 257442"/>
              <a:gd name="connsiteX2" fmla="*/ 0 w 1119115"/>
              <a:gd name="connsiteY2" fmla="*/ 257442 h 257442"/>
              <a:gd name="connsiteX3" fmla="*/ 54720 w 1119115"/>
              <a:gd name="connsiteY3" fmla="*/ 0 h 257442"/>
              <a:gd name="connsiteX0" fmla="*/ 1119116 w 1119116"/>
              <a:gd name="connsiteY0" fmla="*/ 0 h 257442"/>
              <a:gd name="connsiteX1" fmla="*/ 1064395 w 1119116"/>
              <a:gd name="connsiteY1" fmla="*/ 257442 h 257442"/>
              <a:gd name="connsiteX2" fmla="*/ 0 w 1119116"/>
              <a:gd name="connsiteY2" fmla="*/ 257442 h 257442"/>
              <a:gd name="connsiteX3" fmla="*/ 54721 w 1119116"/>
              <a:gd name="connsiteY3" fmla="*/ 0 h 257442"/>
              <a:gd name="connsiteX0" fmla="*/ 1119116 w 1119116"/>
              <a:gd name="connsiteY0" fmla="*/ 0 h 257442"/>
              <a:gd name="connsiteX1" fmla="*/ 1064395 w 1119116"/>
              <a:gd name="connsiteY1" fmla="*/ 257442 h 257442"/>
              <a:gd name="connsiteX2" fmla="*/ 0 w 1119116"/>
              <a:gd name="connsiteY2" fmla="*/ 257442 h 257442"/>
              <a:gd name="connsiteX3" fmla="*/ 54721 w 1119116"/>
              <a:gd name="connsiteY3" fmla="*/ 0 h 257442"/>
              <a:gd name="connsiteX0" fmla="*/ 1297050 w 1297050"/>
              <a:gd name="connsiteY0" fmla="*/ 0 h 257442"/>
              <a:gd name="connsiteX1" fmla="*/ 1064395 w 1297050"/>
              <a:gd name="connsiteY1" fmla="*/ 257442 h 257442"/>
              <a:gd name="connsiteX2" fmla="*/ 0 w 1297050"/>
              <a:gd name="connsiteY2" fmla="*/ 257442 h 257442"/>
              <a:gd name="connsiteX3" fmla="*/ 54721 w 1297050"/>
              <a:gd name="connsiteY3" fmla="*/ 0 h 257442"/>
              <a:gd name="connsiteX0" fmla="*/ 1297050 w 1297050"/>
              <a:gd name="connsiteY0" fmla="*/ 0 h 257442"/>
              <a:gd name="connsiteX1" fmla="*/ 1242329 w 1297050"/>
              <a:gd name="connsiteY1" fmla="*/ 257442 h 257442"/>
              <a:gd name="connsiteX2" fmla="*/ 0 w 1297050"/>
              <a:gd name="connsiteY2" fmla="*/ 257442 h 257442"/>
              <a:gd name="connsiteX3" fmla="*/ 54721 w 1297050"/>
              <a:gd name="connsiteY3" fmla="*/ 0 h 257442"/>
              <a:gd name="connsiteX0" fmla="*/ 1297050 w 1297050"/>
              <a:gd name="connsiteY0" fmla="*/ 0 h 257442"/>
              <a:gd name="connsiteX1" fmla="*/ 1242329 w 1297050"/>
              <a:gd name="connsiteY1" fmla="*/ 257442 h 257442"/>
              <a:gd name="connsiteX2" fmla="*/ 0 w 1297050"/>
              <a:gd name="connsiteY2" fmla="*/ 257442 h 257442"/>
              <a:gd name="connsiteX3" fmla="*/ 54721 w 1297050"/>
              <a:gd name="connsiteY3" fmla="*/ 0 h 257442"/>
              <a:gd name="connsiteX0" fmla="*/ 1297050 w 1297050"/>
              <a:gd name="connsiteY0" fmla="*/ 0 h 257442"/>
              <a:gd name="connsiteX1" fmla="*/ 1242329 w 1297050"/>
              <a:gd name="connsiteY1" fmla="*/ 257442 h 257442"/>
              <a:gd name="connsiteX2" fmla="*/ 0 w 1297050"/>
              <a:gd name="connsiteY2" fmla="*/ 257442 h 257442"/>
              <a:gd name="connsiteX3" fmla="*/ 54721 w 1297050"/>
              <a:gd name="connsiteY3" fmla="*/ 0 h 257442"/>
              <a:gd name="connsiteX0" fmla="*/ 1575972 w 1575972"/>
              <a:gd name="connsiteY0" fmla="*/ 0 h 257442"/>
              <a:gd name="connsiteX1" fmla="*/ 1242329 w 1575972"/>
              <a:gd name="connsiteY1" fmla="*/ 257442 h 257442"/>
              <a:gd name="connsiteX2" fmla="*/ 0 w 1575972"/>
              <a:gd name="connsiteY2" fmla="*/ 257442 h 257442"/>
              <a:gd name="connsiteX3" fmla="*/ 54721 w 1575972"/>
              <a:gd name="connsiteY3" fmla="*/ 0 h 257442"/>
              <a:gd name="connsiteX0" fmla="*/ 1575972 w 1575972"/>
              <a:gd name="connsiteY0" fmla="*/ 0 h 257442"/>
              <a:gd name="connsiteX1" fmla="*/ 1521251 w 1575972"/>
              <a:gd name="connsiteY1" fmla="*/ 257442 h 257442"/>
              <a:gd name="connsiteX2" fmla="*/ 0 w 1575972"/>
              <a:gd name="connsiteY2" fmla="*/ 257442 h 257442"/>
              <a:gd name="connsiteX3" fmla="*/ 54721 w 1575972"/>
              <a:gd name="connsiteY3" fmla="*/ 0 h 257442"/>
              <a:gd name="connsiteX0" fmla="*/ 1575972 w 1575972"/>
              <a:gd name="connsiteY0" fmla="*/ 0 h 257442"/>
              <a:gd name="connsiteX1" fmla="*/ 1521251 w 1575972"/>
              <a:gd name="connsiteY1" fmla="*/ 257442 h 257442"/>
              <a:gd name="connsiteX2" fmla="*/ 0 w 1575972"/>
              <a:gd name="connsiteY2" fmla="*/ 257442 h 257442"/>
              <a:gd name="connsiteX3" fmla="*/ 54721 w 1575972"/>
              <a:gd name="connsiteY3" fmla="*/ 0 h 257442"/>
              <a:gd name="connsiteX0" fmla="*/ 1575972 w 1575972"/>
              <a:gd name="connsiteY0" fmla="*/ 0 h 257442"/>
              <a:gd name="connsiteX1" fmla="*/ 1521251 w 1575972"/>
              <a:gd name="connsiteY1" fmla="*/ 257442 h 257442"/>
              <a:gd name="connsiteX2" fmla="*/ 0 w 1575972"/>
              <a:gd name="connsiteY2" fmla="*/ 257442 h 257442"/>
              <a:gd name="connsiteX3" fmla="*/ 54721 w 1575972"/>
              <a:gd name="connsiteY3" fmla="*/ 0 h 257442"/>
              <a:gd name="connsiteX0" fmla="*/ 1744287 w 1744287"/>
              <a:gd name="connsiteY0" fmla="*/ 0 h 257442"/>
              <a:gd name="connsiteX1" fmla="*/ 1521251 w 1744287"/>
              <a:gd name="connsiteY1" fmla="*/ 257442 h 257442"/>
              <a:gd name="connsiteX2" fmla="*/ 0 w 1744287"/>
              <a:gd name="connsiteY2" fmla="*/ 257442 h 257442"/>
              <a:gd name="connsiteX3" fmla="*/ 54721 w 1744287"/>
              <a:gd name="connsiteY3" fmla="*/ 0 h 257442"/>
              <a:gd name="connsiteX0" fmla="*/ 1744287 w 1744287"/>
              <a:gd name="connsiteY0" fmla="*/ 0 h 257442"/>
              <a:gd name="connsiteX1" fmla="*/ 1689566 w 1744287"/>
              <a:gd name="connsiteY1" fmla="*/ 257442 h 257442"/>
              <a:gd name="connsiteX2" fmla="*/ 0 w 1744287"/>
              <a:gd name="connsiteY2" fmla="*/ 257442 h 257442"/>
              <a:gd name="connsiteX3" fmla="*/ 54721 w 1744287"/>
              <a:gd name="connsiteY3" fmla="*/ 0 h 257442"/>
              <a:gd name="connsiteX0" fmla="*/ 1744287 w 1744287"/>
              <a:gd name="connsiteY0" fmla="*/ 0 h 257442"/>
              <a:gd name="connsiteX1" fmla="*/ 1689566 w 1744287"/>
              <a:gd name="connsiteY1" fmla="*/ 257442 h 257442"/>
              <a:gd name="connsiteX2" fmla="*/ 0 w 1744287"/>
              <a:gd name="connsiteY2" fmla="*/ 257442 h 257442"/>
              <a:gd name="connsiteX3" fmla="*/ 54721 w 1744287"/>
              <a:gd name="connsiteY3" fmla="*/ 0 h 257442"/>
              <a:gd name="connsiteX0" fmla="*/ 1744287 w 1744287"/>
              <a:gd name="connsiteY0" fmla="*/ 0 h 257442"/>
              <a:gd name="connsiteX1" fmla="*/ 1689566 w 1744287"/>
              <a:gd name="connsiteY1" fmla="*/ 257442 h 257442"/>
              <a:gd name="connsiteX2" fmla="*/ 0 w 1744287"/>
              <a:gd name="connsiteY2" fmla="*/ 257442 h 257442"/>
              <a:gd name="connsiteX3" fmla="*/ 54721 w 1744287"/>
              <a:gd name="connsiteY3" fmla="*/ 0 h 257442"/>
              <a:gd name="connsiteX0" fmla="*/ 1946265 w 1946265"/>
              <a:gd name="connsiteY0" fmla="*/ 0 h 257442"/>
              <a:gd name="connsiteX1" fmla="*/ 1689566 w 1946265"/>
              <a:gd name="connsiteY1" fmla="*/ 257442 h 257442"/>
              <a:gd name="connsiteX2" fmla="*/ 0 w 1946265"/>
              <a:gd name="connsiteY2" fmla="*/ 257442 h 257442"/>
              <a:gd name="connsiteX3" fmla="*/ 54721 w 1946265"/>
              <a:gd name="connsiteY3" fmla="*/ 0 h 257442"/>
              <a:gd name="connsiteX0" fmla="*/ 1946265 w 1946265"/>
              <a:gd name="connsiteY0" fmla="*/ 0 h 257442"/>
              <a:gd name="connsiteX1" fmla="*/ 1891544 w 1946265"/>
              <a:gd name="connsiteY1" fmla="*/ 257442 h 257442"/>
              <a:gd name="connsiteX2" fmla="*/ 0 w 1946265"/>
              <a:gd name="connsiteY2" fmla="*/ 257442 h 257442"/>
              <a:gd name="connsiteX3" fmla="*/ 54721 w 1946265"/>
              <a:gd name="connsiteY3" fmla="*/ 0 h 257442"/>
              <a:gd name="connsiteX0" fmla="*/ 1946265 w 1946265"/>
              <a:gd name="connsiteY0" fmla="*/ 0 h 257442"/>
              <a:gd name="connsiteX1" fmla="*/ 1891544 w 1946265"/>
              <a:gd name="connsiteY1" fmla="*/ 257442 h 257442"/>
              <a:gd name="connsiteX2" fmla="*/ 0 w 1946265"/>
              <a:gd name="connsiteY2" fmla="*/ 257442 h 257442"/>
              <a:gd name="connsiteX3" fmla="*/ 54721 w 1946265"/>
              <a:gd name="connsiteY3" fmla="*/ 0 h 257442"/>
              <a:gd name="connsiteX0" fmla="*/ 1946265 w 1946265"/>
              <a:gd name="connsiteY0" fmla="*/ 0 h 257442"/>
              <a:gd name="connsiteX1" fmla="*/ 1891544 w 1946265"/>
              <a:gd name="connsiteY1" fmla="*/ 257442 h 257442"/>
              <a:gd name="connsiteX2" fmla="*/ 0 w 1946265"/>
              <a:gd name="connsiteY2" fmla="*/ 257442 h 257442"/>
              <a:gd name="connsiteX3" fmla="*/ 54721 w 1946265"/>
              <a:gd name="connsiteY3" fmla="*/ 0 h 257442"/>
              <a:gd name="connsiteX0" fmla="*/ 2106566 w 2106566"/>
              <a:gd name="connsiteY0" fmla="*/ 0 h 257442"/>
              <a:gd name="connsiteX1" fmla="*/ 1891544 w 2106566"/>
              <a:gd name="connsiteY1" fmla="*/ 257442 h 257442"/>
              <a:gd name="connsiteX2" fmla="*/ 0 w 2106566"/>
              <a:gd name="connsiteY2" fmla="*/ 257442 h 257442"/>
              <a:gd name="connsiteX3" fmla="*/ 54721 w 2106566"/>
              <a:gd name="connsiteY3" fmla="*/ 0 h 257442"/>
              <a:gd name="connsiteX0" fmla="*/ 2106566 w 2106566"/>
              <a:gd name="connsiteY0" fmla="*/ 0 h 257442"/>
              <a:gd name="connsiteX1" fmla="*/ 2051844 w 2106566"/>
              <a:gd name="connsiteY1" fmla="*/ 257442 h 257442"/>
              <a:gd name="connsiteX2" fmla="*/ 0 w 2106566"/>
              <a:gd name="connsiteY2" fmla="*/ 257442 h 257442"/>
              <a:gd name="connsiteX3" fmla="*/ 54721 w 2106566"/>
              <a:gd name="connsiteY3" fmla="*/ 0 h 257442"/>
              <a:gd name="connsiteX0" fmla="*/ 2106567 w 2106567"/>
              <a:gd name="connsiteY0" fmla="*/ 0 h 257442"/>
              <a:gd name="connsiteX1" fmla="*/ 2051845 w 2106567"/>
              <a:gd name="connsiteY1" fmla="*/ 257442 h 257442"/>
              <a:gd name="connsiteX2" fmla="*/ 0 w 2106567"/>
              <a:gd name="connsiteY2" fmla="*/ 257442 h 257442"/>
              <a:gd name="connsiteX3" fmla="*/ 54722 w 2106567"/>
              <a:gd name="connsiteY3" fmla="*/ 0 h 257442"/>
              <a:gd name="connsiteX0" fmla="*/ 2106567 w 2106567"/>
              <a:gd name="connsiteY0" fmla="*/ 0 h 257442"/>
              <a:gd name="connsiteX1" fmla="*/ 2051845 w 2106567"/>
              <a:gd name="connsiteY1" fmla="*/ 257442 h 257442"/>
              <a:gd name="connsiteX2" fmla="*/ 0 w 2106567"/>
              <a:gd name="connsiteY2" fmla="*/ 257442 h 257442"/>
              <a:gd name="connsiteX3" fmla="*/ 54722 w 2106567"/>
              <a:gd name="connsiteY3" fmla="*/ 0 h 257442"/>
              <a:gd name="connsiteX0" fmla="*/ 2266867 w 2266867"/>
              <a:gd name="connsiteY0" fmla="*/ 0 h 257442"/>
              <a:gd name="connsiteX1" fmla="*/ 2051845 w 2266867"/>
              <a:gd name="connsiteY1" fmla="*/ 257442 h 257442"/>
              <a:gd name="connsiteX2" fmla="*/ 0 w 2266867"/>
              <a:gd name="connsiteY2" fmla="*/ 257442 h 257442"/>
              <a:gd name="connsiteX3" fmla="*/ 54722 w 2266867"/>
              <a:gd name="connsiteY3" fmla="*/ 0 h 257442"/>
              <a:gd name="connsiteX0" fmla="*/ 2266867 w 2266867"/>
              <a:gd name="connsiteY0" fmla="*/ 0 h 257442"/>
              <a:gd name="connsiteX1" fmla="*/ 2212146 w 2266867"/>
              <a:gd name="connsiteY1" fmla="*/ 257442 h 257442"/>
              <a:gd name="connsiteX2" fmla="*/ 0 w 2266867"/>
              <a:gd name="connsiteY2" fmla="*/ 257442 h 257442"/>
              <a:gd name="connsiteX3" fmla="*/ 54722 w 2266867"/>
              <a:gd name="connsiteY3" fmla="*/ 0 h 257442"/>
              <a:gd name="connsiteX0" fmla="*/ 2266866 w 2266866"/>
              <a:gd name="connsiteY0" fmla="*/ 0 h 257442"/>
              <a:gd name="connsiteX1" fmla="*/ 2212145 w 2266866"/>
              <a:gd name="connsiteY1" fmla="*/ 257442 h 257442"/>
              <a:gd name="connsiteX2" fmla="*/ 0 w 2266866"/>
              <a:gd name="connsiteY2" fmla="*/ 257442 h 257442"/>
              <a:gd name="connsiteX3" fmla="*/ 54721 w 2266866"/>
              <a:gd name="connsiteY3" fmla="*/ 0 h 257442"/>
              <a:gd name="connsiteX0" fmla="*/ 2266866 w 2266866"/>
              <a:gd name="connsiteY0" fmla="*/ 0 h 257442"/>
              <a:gd name="connsiteX1" fmla="*/ 2212145 w 2266866"/>
              <a:gd name="connsiteY1" fmla="*/ 257442 h 257442"/>
              <a:gd name="connsiteX2" fmla="*/ 0 w 2266866"/>
              <a:gd name="connsiteY2" fmla="*/ 257442 h 257442"/>
              <a:gd name="connsiteX3" fmla="*/ 54720 w 2266866"/>
              <a:gd name="connsiteY3" fmla="*/ 0 h 257442"/>
              <a:gd name="connsiteX0" fmla="*/ 2435181 w 2435181"/>
              <a:gd name="connsiteY0" fmla="*/ 0 h 257442"/>
              <a:gd name="connsiteX1" fmla="*/ 2212145 w 2435181"/>
              <a:gd name="connsiteY1" fmla="*/ 257442 h 257442"/>
              <a:gd name="connsiteX2" fmla="*/ 0 w 2435181"/>
              <a:gd name="connsiteY2" fmla="*/ 257442 h 257442"/>
              <a:gd name="connsiteX3" fmla="*/ 54720 w 2435181"/>
              <a:gd name="connsiteY3" fmla="*/ 0 h 257442"/>
              <a:gd name="connsiteX0" fmla="*/ 2435181 w 2435181"/>
              <a:gd name="connsiteY0" fmla="*/ 0 h 257442"/>
              <a:gd name="connsiteX1" fmla="*/ 2380460 w 2435181"/>
              <a:gd name="connsiteY1" fmla="*/ 257442 h 257442"/>
              <a:gd name="connsiteX2" fmla="*/ 0 w 2435181"/>
              <a:gd name="connsiteY2" fmla="*/ 257442 h 257442"/>
              <a:gd name="connsiteX3" fmla="*/ 54720 w 2435181"/>
              <a:gd name="connsiteY3" fmla="*/ 0 h 257442"/>
              <a:gd name="connsiteX0" fmla="*/ 2435182 w 2435182"/>
              <a:gd name="connsiteY0" fmla="*/ 0 h 257442"/>
              <a:gd name="connsiteX1" fmla="*/ 2380461 w 2435182"/>
              <a:gd name="connsiteY1" fmla="*/ 257442 h 257442"/>
              <a:gd name="connsiteX2" fmla="*/ 0 w 2435182"/>
              <a:gd name="connsiteY2" fmla="*/ 257442 h 257442"/>
              <a:gd name="connsiteX3" fmla="*/ 54721 w 2435182"/>
              <a:gd name="connsiteY3" fmla="*/ 0 h 257442"/>
              <a:gd name="connsiteX0" fmla="*/ 2435182 w 2435182"/>
              <a:gd name="connsiteY0" fmla="*/ 0 h 257442"/>
              <a:gd name="connsiteX1" fmla="*/ 2380461 w 2435182"/>
              <a:gd name="connsiteY1" fmla="*/ 257442 h 257442"/>
              <a:gd name="connsiteX2" fmla="*/ 0 w 2435182"/>
              <a:gd name="connsiteY2" fmla="*/ 257442 h 257442"/>
              <a:gd name="connsiteX3" fmla="*/ 54721 w 2435182"/>
              <a:gd name="connsiteY3" fmla="*/ 0 h 257442"/>
              <a:gd name="connsiteX0" fmla="*/ 2266866 w 2380461"/>
              <a:gd name="connsiteY0" fmla="*/ 0 h 257442"/>
              <a:gd name="connsiteX1" fmla="*/ 2380461 w 2380461"/>
              <a:gd name="connsiteY1" fmla="*/ 257442 h 257442"/>
              <a:gd name="connsiteX2" fmla="*/ 0 w 2380461"/>
              <a:gd name="connsiteY2" fmla="*/ 257442 h 257442"/>
              <a:gd name="connsiteX3" fmla="*/ 54721 w 2380461"/>
              <a:gd name="connsiteY3" fmla="*/ 0 h 257442"/>
              <a:gd name="connsiteX0" fmla="*/ 2266866 w 2266866"/>
              <a:gd name="connsiteY0" fmla="*/ 0 h 257442"/>
              <a:gd name="connsiteX1" fmla="*/ 2212146 w 2266866"/>
              <a:gd name="connsiteY1" fmla="*/ 257442 h 257442"/>
              <a:gd name="connsiteX2" fmla="*/ 0 w 2266866"/>
              <a:gd name="connsiteY2" fmla="*/ 257442 h 257442"/>
              <a:gd name="connsiteX3" fmla="*/ 54721 w 2266866"/>
              <a:gd name="connsiteY3" fmla="*/ 0 h 257442"/>
              <a:gd name="connsiteX0" fmla="*/ 2266865 w 2266865"/>
              <a:gd name="connsiteY0" fmla="*/ 0 h 257442"/>
              <a:gd name="connsiteX1" fmla="*/ 2212145 w 2266865"/>
              <a:gd name="connsiteY1" fmla="*/ 257442 h 257442"/>
              <a:gd name="connsiteX2" fmla="*/ 0 w 2266865"/>
              <a:gd name="connsiteY2" fmla="*/ 257442 h 257442"/>
              <a:gd name="connsiteX3" fmla="*/ 54720 w 2266865"/>
              <a:gd name="connsiteY3" fmla="*/ 0 h 257442"/>
              <a:gd name="connsiteX0" fmla="*/ 2266865 w 2266865"/>
              <a:gd name="connsiteY0" fmla="*/ 0 h 257442"/>
              <a:gd name="connsiteX1" fmla="*/ 2212145 w 2266865"/>
              <a:gd name="connsiteY1" fmla="*/ 257442 h 257442"/>
              <a:gd name="connsiteX2" fmla="*/ 0 w 2266865"/>
              <a:gd name="connsiteY2" fmla="*/ 257442 h 257442"/>
              <a:gd name="connsiteX3" fmla="*/ 54721 w 2266865"/>
              <a:gd name="connsiteY3" fmla="*/ 0 h 257442"/>
              <a:gd name="connsiteX0" fmla="*/ 2106566 w 2212145"/>
              <a:gd name="connsiteY0" fmla="*/ 0 h 257442"/>
              <a:gd name="connsiteX1" fmla="*/ 2212145 w 2212145"/>
              <a:gd name="connsiteY1" fmla="*/ 257442 h 257442"/>
              <a:gd name="connsiteX2" fmla="*/ 0 w 2212145"/>
              <a:gd name="connsiteY2" fmla="*/ 257442 h 257442"/>
              <a:gd name="connsiteX3" fmla="*/ 54721 w 2212145"/>
              <a:gd name="connsiteY3" fmla="*/ 0 h 257442"/>
              <a:gd name="connsiteX0" fmla="*/ 2106566 w 2106566"/>
              <a:gd name="connsiteY0" fmla="*/ 0 h 257442"/>
              <a:gd name="connsiteX1" fmla="*/ 2051845 w 2106566"/>
              <a:gd name="connsiteY1" fmla="*/ 257442 h 257442"/>
              <a:gd name="connsiteX2" fmla="*/ 0 w 2106566"/>
              <a:gd name="connsiteY2" fmla="*/ 257442 h 257442"/>
              <a:gd name="connsiteX3" fmla="*/ 54721 w 2106566"/>
              <a:gd name="connsiteY3" fmla="*/ 0 h 257442"/>
              <a:gd name="connsiteX0" fmla="*/ 2106566 w 2106566"/>
              <a:gd name="connsiteY0" fmla="*/ 0 h 257442"/>
              <a:gd name="connsiteX1" fmla="*/ 2051845 w 2106566"/>
              <a:gd name="connsiteY1" fmla="*/ 257442 h 257442"/>
              <a:gd name="connsiteX2" fmla="*/ 0 w 2106566"/>
              <a:gd name="connsiteY2" fmla="*/ 257442 h 257442"/>
              <a:gd name="connsiteX3" fmla="*/ 54721 w 2106566"/>
              <a:gd name="connsiteY3" fmla="*/ 0 h 257442"/>
              <a:gd name="connsiteX0" fmla="*/ 2106566 w 2106566"/>
              <a:gd name="connsiteY0" fmla="*/ 0 h 257442"/>
              <a:gd name="connsiteX1" fmla="*/ 2051845 w 2106566"/>
              <a:gd name="connsiteY1" fmla="*/ 257442 h 257442"/>
              <a:gd name="connsiteX2" fmla="*/ 0 w 2106566"/>
              <a:gd name="connsiteY2" fmla="*/ 257442 h 257442"/>
              <a:gd name="connsiteX3" fmla="*/ 54721 w 2106566"/>
              <a:gd name="connsiteY3" fmla="*/ 0 h 257442"/>
              <a:gd name="connsiteX0" fmla="*/ 1946265 w 2051845"/>
              <a:gd name="connsiteY0" fmla="*/ 0 h 257442"/>
              <a:gd name="connsiteX1" fmla="*/ 2051845 w 2051845"/>
              <a:gd name="connsiteY1" fmla="*/ 257442 h 257442"/>
              <a:gd name="connsiteX2" fmla="*/ 0 w 2051845"/>
              <a:gd name="connsiteY2" fmla="*/ 257442 h 257442"/>
              <a:gd name="connsiteX3" fmla="*/ 54721 w 2051845"/>
              <a:gd name="connsiteY3" fmla="*/ 0 h 257442"/>
              <a:gd name="connsiteX0" fmla="*/ 1946265 w 1946265"/>
              <a:gd name="connsiteY0" fmla="*/ 0 h 257442"/>
              <a:gd name="connsiteX1" fmla="*/ 1891545 w 1946265"/>
              <a:gd name="connsiteY1" fmla="*/ 257442 h 257442"/>
              <a:gd name="connsiteX2" fmla="*/ 0 w 1946265"/>
              <a:gd name="connsiteY2" fmla="*/ 257442 h 257442"/>
              <a:gd name="connsiteX3" fmla="*/ 54721 w 1946265"/>
              <a:gd name="connsiteY3" fmla="*/ 0 h 257442"/>
              <a:gd name="connsiteX0" fmla="*/ 1946264 w 1946264"/>
              <a:gd name="connsiteY0" fmla="*/ 0 h 257442"/>
              <a:gd name="connsiteX1" fmla="*/ 1891544 w 1946264"/>
              <a:gd name="connsiteY1" fmla="*/ 257442 h 257442"/>
              <a:gd name="connsiteX2" fmla="*/ 0 w 1946264"/>
              <a:gd name="connsiteY2" fmla="*/ 257442 h 257442"/>
              <a:gd name="connsiteX3" fmla="*/ 54720 w 1946264"/>
              <a:gd name="connsiteY3" fmla="*/ 0 h 257442"/>
              <a:gd name="connsiteX0" fmla="*/ 1946264 w 1946264"/>
              <a:gd name="connsiteY0" fmla="*/ 0 h 257442"/>
              <a:gd name="connsiteX1" fmla="*/ 1891544 w 1946264"/>
              <a:gd name="connsiteY1" fmla="*/ 257442 h 257442"/>
              <a:gd name="connsiteX2" fmla="*/ 0 w 1946264"/>
              <a:gd name="connsiteY2" fmla="*/ 257442 h 257442"/>
              <a:gd name="connsiteX3" fmla="*/ 54720 w 1946264"/>
              <a:gd name="connsiteY3" fmla="*/ 0 h 257442"/>
              <a:gd name="connsiteX0" fmla="*/ 2114580 w 2114580"/>
              <a:gd name="connsiteY0" fmla="*/ 0 h 257442"/>
              <a:gd name="connsiteX1" fmla="*/ 1891544 w 2114580"/>
              <a:gd name="connsiteY1" fmla="*/ 257442 h 257442"/>
              <a:gd name="connsiteX2" fmla="*/ 0 w 2114580"/>
              <a:gd name="connsiteY2" fmla="*/ 257442 h 257442"/>
              <a:gd name="connsiteX3" fmla="*/ 54720 w 2114580"/>
              <a:gd name="connsiteY3" fmla="*/ 0 h 257442"/>
              <a:gd name="connsiteX0" fmla="*/ 2114580 w 2114580"/>
              <a:gd name="connsiteY0" fmla="*/ 0 h 257442"/>
              <a:gd name="connsiteX1" fmla="*/ 2059859 w 2114580"/>
              <a:gd name="connsiteY1" fmla="*/ 257442 h 257442"/>
              <a:gd name="connsiteX2" fmla="*/ 0 w 2114580"/>
              <a:gd name="connsiteY2" fmla="*/ 257442 h 257442"/>
              <a:gd name="connsiteX3" fmla="*/ 54720 w 2114580"/>
              <a:gd name="connsiteY3" fmla="*/ 0 h 257442"/>
              <a:gd name="connsiteX0" fmla="*/ 2114581 w 2114581"/>
              <a:gd name="connsiteY0" fmla="*/ 0 h 257442"/>
              <a:gd name="connsiteX1" fmla="*/ 2059860 w 2114581"/>
              <a:gd name="connsiteY1" fmla="*/ 257442 h 257442"/>
              <a:gd name="connsiteX2" fmla="*/ 0 w 2114581"/>
              <a:gd name="connsiteY2" fmla="*/ 257442 h 257442"/>
              <a:gd name="connsiteX3" fmla="*/ 54721 w 2114581"/>
              <a:gd name="connsiteY3" fmla="*/ 0 h 257442"/>
              <a:gd name="connsiteX0" fmla="*/ 2114581 w 2114581"/>
              <a:gd name="connsiteY0" fmla="*/ 0 h 257442"/>
              <a:gd name="connsiteX1" fmla="*/ 2059860 w 2114581"/>
              <a:gd name="connsiteY1" fmla="*/ 257442 h 257442"/>
              <a:gd name="connsiteX2" fmla="*/ 0 w 2114581"/>
              <a:gd name="connsiteY2" fmla="*/ 257442 h 257442"/>
              <a:gd name="connsiteX3" fmla="*/ 54722 w 2114581"/>
              <a:gd name="connsiteY3" fmla="*/ 0 h 257442"/>
              <a:gd name="connsiteX0" fmla="*/ 2274883 w 2274883"/>
              <a:gd name="connsiteY0" fmla="*/ 0 h 257442"/>
              <a:gd name="connsiteX1" fmla="*/ 2059860 w 2274883"/>
              <a:gd name="connsiteY1" fmla="*/ 257442 h 257442"/>
              <a:gd name="connsiteX2" fmla="*/ 0 w 2274883"/>
              <a:gd name="connsiteY2" fmla="*/ 257442 h 257442"/>
              <a:gd name="connsiteX3" fmla="*/ 54722 w 2274883"/>
              <a:gd name="connsiteY3" fmla="*/ 0 h 257442"/>
              <a:gd name="connsiteX0" fmla="*/ 2274883 w 2274883"/>
              <a:gd name="connsiteY0" fmla="*/ 0 h 257442"/>
              <a:gd name="connsiteX1" fmla="*/ 2220162 w 2274883"/>
              <a:gd name="connsiteY1" fmla="*/ 257442 h 257442"/>
              <a:gd name="connsiteX2" fmla="*/ 0 w 2274883"/>
              <a:gd name="connsiteY2" fmla="*/ 257442 h 257442"/>
              <a:gd name="connsiteX3" fmla="*/ 54722 w 2274883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1 w 2274882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0 w 2274882"/>
              <a:gd name="connsiteY3" fmla="*/ 0 h 257442"/>
              <a:gd name="connsiteX0" fmla="*/ 2579451 w 2579451"/>
              <a:gd name="connsiteY0" fmla="*/ 0 h 257442"/>
              <a:gd name="connsiteX1" fmla="*/ 2220161 w 2579451"/>
              <a:gd name="connsiteY1" fmla="*/ 257442 h 257442"/>
              <a:gd name="connsiteX2" fmla="*/ 0 w 2579451"/>
              <a:gd name="connsiteY2" fmla="*/ 257442 h 257442"/>
              <a:gd name="connsiteX3" fmla="*/ 54720 w 2579451"/>
              <a:gd name="connsiteY3" fmla="*/ 0 h 257442"/>
              <a:gd name="connsiteX0" fmla="*/ 2579451 w 2579451"/>
              <a:gd name="connsiteY0" fmla="*/ 0 h 257442"/>
              <a:gd name="connsiteX1" fmla="*/ 2524730 w 2579451"/>
              <a:gd name="connsiteY1" fmla="*/ 257442 h 257442"/>
              <a:gd name="connsiteX2" fmla="*/ 0 w 2579451"/>
              <a:gd name="connsiteY2" fmla="*/ 257442 h 257442"/>
              <a:gd name="connsiteX3" fmla="*/ 54720 w 2579451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772967 w 2772967"/>
              <a:gd name="connsiteY0" fmla="*/ 0 h 257442"/>
              <a:gd name="connsiteX1" fmla="*/ 2524731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772967 w 2772967"/>
              <a:gd name="connsiteY0" fmla="*/ 0 h 257442"/>
              <a:gd name="connsiteX1" fmla="*/ 2718246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772967 w 2772967"/>
              <a:gd name="connsiteY0" fmla="*/ 0 h 257442"/>
              <a:gd name="connsiteX1" fmla="*/ 2718246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772967 w 2772967"/>
              <a:gd name="connsiteY0" fmla="*/ 0 h 257442"/>
              <a:gd name="connsiteX1" fmla="*/ 2718246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958915 w 2958915"/>
              <a:gd name="connsiteY0" fmla="*/ 0 h 257442"/>
              <a:gd name="connsiteX1" fmla="*/ 2718246 w 2958915"/>
              <a:gd name="connsiteY1" fmla="*/ 257442 h 257442"/>
              <a:gd name="connsiteX2" fmla="*/ 0 w 2958915"/>
              <a:gd name="connsiteY2" fmla="*/ 257442 h 257442"/>
              <a:gd name="connsiteX3" fmla="*/ 54721 w 2958915"/>
              <a:gd name="connsiteY3" fmla="*/ 0 h 257442"/>
              <a:gd name="connsiteX0" fmla="*/ 2958915 w 2958915"/>
              <a:gd name="connsiteY0" fmla="*/ 0 h 257442"/>
              <a:gd name="connsiteX1" fmla="*/ 2904194 w 2958915"/>
              <a:gd name="connsiteY1" fmla="*/ 257442 h 257442"/>
              <a:gd name="connsiteX2" fmla="*/ 0 w 2958915"/>
              <a:gd name="connsiteY2" fmla="*/ 257442 h 257442"/>
              <a:gd name="connsiteX3" fmla="*/ 54721 w 2958915"/>
              <a:gd name="connsiteY3" fmla="*/ 0 h 257442"/>
              <a:gd name="connsiteX0" fmla="*/ 2958915 w 2958915"/>
              <a:gd name="connsiteY0" fmla="*/ 0 h 257442"/>
              <a:gd name="connsiteX1" fmla="*/ 2904194 w 2958915"/>
              <a:gd name="connsiteY1" fmla="*/ 257442 h 257442"/>
              <a:gd name="connsiteX2" fmla="*/ 0 w 2958915"/>
              <a:gd name="connsiteY2" fmla="*/ 257442 h 257442"/>
              <a:gd name="connsiteX3" fmla="*/ 54721 w 2958915"/>
              <a:gd name="connsiteY3" fmla="*/ 0 h 257442"/>
              <a:gd name="connsiteX0" fmla="*/ 2958915 w 2958915"/>
              <a:gd name="connsiteY0" fmla="*/ 0 h 257442"/>
              <a:gd name="connsiteX1" fmla="*/ 2904194 w 2958915"/>
              <a:gd name="connsiteY1" fmla="*/ 257442 h 257442"/>
              <a:gd name="connsiteX2" fmla="*/ 0 w 2958915"/>
              <a:gd name="connsiteY2" fmla="*/ 257442 h 257442"/>
              <a:gd name="connsiteX3" fmla="*/ 54721 w 2958915"/>
              <a:gd name="connsiteY3" fmla="*/ 0 h 257442"/>
              <a:gd name="connsiteX0" fmla="*/ 3144863 w 3144863"/>
              <a:gd name="connsiteY0" fmla="*/ 0 h 257442"/>
              <a:gd name="connsiteX1" fmla="*/ 2904194 w 3144863"/>
              <a:gd name="connsiteY1" fmla="*/ 257442 h 257442"/>
              <a:gd name="connsiteX2" fmla="*/ 0 w 3144863"/>
              <a:gd name="connsiteY2" fmla="*/ 257442 h 257442"/>
              <a:gd name="connsiteX3" fmla="*/ 54721 w 3144863"/>
              <a:gd name="connsiteY3" fmla="*/ 0 h 257442"/>
              <a:gd name="connsiteX0" fmla="*/ 3144863 w 3144863"/>
              <a:gd name="connsiteY0" fmla="*/ 0 h 257442"/>
              <a:gd name="connsiteX1" fmla="*/ 3090142 w 3144863"/>
              <a:gd name="connsiteY1" fmla="*/ 257442 h 257442"/>
              <a:gd name="connsiteX2" fmla="*/ 0 w 3144863"/>
              <a:gd name="connsiteY2" fmla="*/ 257442 h 257442"/>
              <a:gd name="connsiteX3" fmla="*/ 54721 w 3144863"/>
              <a:gd name="connsiteY3" fmla="*/ 0 h 257442"/>
              <a:gd name="connsiteX0" fmla="*/ 3144863 w 3144863"/>
              <a:gd name="connsiteY0" fmla="*/ 0 h 257442"/>
              <a:gd name="connsiteX1" fmla="*/ 3090142 w 3144863"/>
              <a:gd name="connsiteY1" fmla="*/ 257442 h 257442"/>
              <a:gd name="connsiteX2" fmla="*/ 0 w 3144863"/>
              <a:gd name="connsiteY2" fmla="*/ 257442 h 257442"/>
              <a:gd name="connsiteX3" fmla="*/ 54721 w 3144863"/>
              <a:gd name="connsiteY3" fmla="*/ 0 h 257442"/>
              <a:gd name="connsiteX0" fmla="*/ 3144863 w 3144863"/>
              <a:gd name="connsiteY0" fmla="*/ 0 h 257442"/>
              <a:gd name="connsiteX1" fmla="*/ 3090142 w 3144863"/>
              <a:gd name="connsiteY1" fmla="*/ 257442 h 257442"/>
              <a:gd name="connsiteX2" fmla="*/ 0 w 3144863"/>
              <a:gd name="connsiteY2" fmla="*/ 257442 h 257442"/>
              <a:gd name="connsiteX3" fmla="*/ 54721 w 3144863"/>
              <a:gd name="connsiteY3" fmla="*/ 0 h 257442"/>
              <a:gd name="connsiteX0" fmla="*/ 3313178 w 3313178"/>
              <a:gd name="connsiteY0" fmla="*/ 0 h 257442"/>
              <a:gd name="connsiteX1" fmla="*/ 3090142 w 3313178"/>
              <a:gd name="connsiteY1" fmla="*/ 257442 h 257442"/>
              <a:gd name="connsiteX2" fmla="*/ 0 w 3313178"/>
              <a:gd name="connsiteY2" fmla="*/ 257442 h 257442"/>
              <a:gd name="connsiteX3" fmla="*/ 54721 w 3313178"/>
              <a:gd name="connsiteY3" fmla="*/ 0 h 257442"/>
              <a:gd name="connsiteX0" fmla="*/ 3313178 w 3313178"/>
              <a:gd name="connsiteY0" fmla="*/ 0 h 257442"/>
              <a:gd name="connsiteX1" fmla="*/ 3258456 w 3313178"/>
              <a:gd name="connsiteY1" fmla="*/ 257442 h 257442"/>
              <a:gd name="connsiteX2" fmla="*/ 0 w 3313178"/>
              <a:gd name="connsiteY2" fmla="*/ 257442 h 257442"/>
              <a:gd name="connsiteX3" fmla="*/ 54721 w 3313178"/>
              <a:gd name="connsiteY3" fmla="*/ 0 h 257442"/>
              <a:gd name="connsiteX0" fmla="*/ 3313179 w 3313179"/>
              <a:gd name="connsiteY0" fmla="*/ 0 h 257442"/>
              <a:gd name="connsiteX1" fmla="*/ 3258457 w 3313179"/>
              <a:gd name="connsiteY1" fmla="*/ 257442 h 257442"/>
              <a:gd name="connsiteX2" fmla="*/ 0 w 3313179"/>
              <a:gd name="connsiteY2" fmla="*/ 257442 h 257442"/>
              <a:gd name="connsiteX3" fmla="*/ 54722 w 3313179"/>
              <a:gd name="connsiteY3" fmla="*/ 0 h 257442"/>
              <a:gd name="connsiteX0" fmla="*/ 3313179 w 3313179"/>
              <a:gd name="connsiteY0" fmla="*/ 0 h 257442"/>
              <a:gd name="connsiteX1" fmla="*/ 3258457 w 3313179"/>
              <a:gd name="connsiteY1" fmla="*/ 257442 h 257442"/>
              <a:gd name="connsiteX2" fmla="*/ 0 w 3313179"/>
              <a:gd name="connsiteY2" fmla="*/ 257442 h 257442"/>
              <a:gd name="connsiteX3" fmla="*/ 54722 w 3313179"/>
              <a:gd name="connsiteY3" fmla="*/ 0 h 257442"/>
              <a:gd name="connsiteX0" fmla="*/ 3622365 w 3622365"/>
              <a:gd name="connsiteY0" fmla="*/ 0 h 257442"/>
              <a:gd name="connsiteX1" fmla="*/ 3258457 w 3622365"/>
              <a:gd name="connsiteY1" fmla="*/ 257442 h 257442"/>
              <a:gd name="connsiteX2" fmla="*/ 0 w 3622365"/>
              <a:gd name="connsiteY2" fmla="*/ 257442 h 257442"/>
              <a:gd name="connsiteX3" fmla="*/ 54722 w 3622365"/>
              <a:gd name="connsiteY3" fmla="*/ 0 h 257442"/>
              <a:gd name="connsiteX0" fmla="*/ 3622365 w 3622365"/>
              <a:gd name="connsiteY0" fmla="*/ 0 h 257442"/>
              <a:gd name="connsiteX1" fmla="*/ 3567645 w 3622365"/>
              <a:gd name="connsiteY1" fmla="*/ 257442 h 257442"/>
              <a:gd name="connsiteX2" fmla="*/ 0 w 3622365"/>
              <a:gd name="connsiteY2" fmla="*/ 257442 h 257442"/>
              <a:gd name="connsiteX3" fmla="*/ 54722 w 3622365"/>
              <a:gd name="connsiteY3" fmla="*/ 0 h 257442"/>
              <a:gd name="connsiteX0" fmla="*/ 3622364 w 3622364"/>
              <a:gd name="connsiteY0" fmla="*/ 0 h 257442"/>
              <a:gd name="connsiteX1" fmla="*/ 3567644 w 3622364"/>
              <a:gd name="connsiteY1" fmla="*/ 257442 h 257442"/>
              <a:gd name="connsiteX2" fmla="*/ 0 w 3622364"/>
              <a:gd name="connsiteY2" fmla="*/ 257442 h 257442"/>
              <a:gd name="connsiteX3" fmla="*/ 54721 w 3622364"/>
              <a:gd name="connsiteY3" fmla="*/ 0 h 257442"/>
              <a:gd name="connsiteX0" fmla="*/ 3622364 w 3622364"/>
              <a:gd name="connsiteY0" fmla="*/ 0 h 257442"/>
              <a:gd name="connsiteX1" fmla="*/ 3567644 w 3622364"/>
              <a:gd name="connsiteY1" fmla="*/ 257442 h 257442"/>
              <a:gd name="connsiteX2" fmla="*/ 0 w 3622364"/>
              <a:gd name="connsiteY2" fmla="*/ 257442 h 257442"/>
              <a:gd name="connsiteX3" fmla="*/ 54720 w 3622364"/>
              <a:gd name="connsiteY3" fmla="*/ 0 h 257442"/>
              <a:gd name="connsiteX0" fmla="*/ 3891669 w 3891669"/>
              <a:gd name="connsiteY0" fmla="*/ 0 h 257442"/>
              <a:gd name="connsiteX1" fmla="*/ 3567644 w 3891669"/>
              <a:gd name="connsiteY1" fmla="*/ 257442 h 257442"/>
              <a:gd name="connsiteX2" fmla="*/ 0 w 3891669"/>
              <a:gd name="connsiteY2" fmla="*/ 257442 h 257442"/>
              <a:gd name="connsiteX3" fmla="*/ 54720 w 3891669"/>
              <a:gd name="connsiteY3" fmla="*/ 0 h 257442"/>
              <a:gd name="connsiteX0" fmla="*/ 3891669 w 3891669"/>
              <a:gd name="connsiteY0" fmla="*/ 0 h 257442"/>
              <a:gd name="connsiteX1" fmla="*/ 3836949 w 3891669"/>
              <a:gd name="connsiteY1" fmla="*/ 257442 h 257442"/>
              <a:gd name="connsiteX2" fmla="*/ 0 w 3891669"/>
              <a:gd name="connsiteY2" fmla="*/ 257442 h 257442"/>
              <a:gd name="connsiteX3" fmla="*/ 54720 w 3891669"/>
              <a:gd name="connsiteY3" fmla="*/ 0 h 257442"/>
              <a:gd name="connsiteX0" fmla="*/ 3891670 w 3891670"/>
              <a:gd name="connsiteY0" fmla="*/ 0 h 257442"/>
              <a:gd name="connsiteX1" fmla="*/ 3836950 w 3891670"/>
              <a:gd name="connsiteY1" fmla="*/ 257442 h 257442"/>
              <a:gd name="connsiteX2" fmla="*/ 0 w 3891670"/>
              <a:gd name="connsiteY2" fmla="*/ 257442 h 257442"/>
              <a:gd name="connsiteX3" fmla="*/ 54721 w 3891670"/>
              <a:gd name="connsiteY3" fmla="*/ 0 h 257442"/>
              <a:gd name="connsiteX0" fmla="*/ 3891670 w 3891670"/>
              <a:gd name="connsiteY0" fmla="*/ 0 h 257442"/>
              <a:gd name="connsiteX1" fmla="*/ 3836950 w 3891670"/>
              <a:gd name="connsiteY1" fmla="*/ 257442 h 257442"/>
              <a:gd name="connsiteX2" fmla="*/ 0 w 3891670"/>
              <a:gd name="connsiteY2" fmla="*/ 257442 h 257442"/>
              <a:gd name="connsiteX3" fmla="*/ 54721 w 3891670"/>
              <a:gd name="connsiteY3" fmla="*/ 0 h 257442"/>
              <a:gd name="connsiteX0" fmla="*/ 4069604 w 4069604"/>
              <a:gd name="connsiteY0" fmla="*/ 0 h 257442"/>
              <a:gd name="connsiteX1" fmla="*/ 3836950 w 4069604"/>
              <a:gd name="connsiteY1" fmla="*/ 257442 h 257442"/>
              <a:gd name="connsiteX2" fmla="*/ 0 w 4069604"/>
              <a:gd name="connsiteY2" fmla="*/ 257442 h 257442"/>
              <a:gd name="connsiteX3" fmla="*/ 54721 w 4069604"/>
              <a:gd name="connsiteY3" fmla="*/ 0 h 257442"/>
              <a:gd name="connsiteX0" fmla="*/ 4069604 w 4069604"/>
              <a:gd name="connsiteY0" fmla="*/ 0 h 257442"/>
              <a:gd name="connsiteX1" fmla="*/ 4014883 w 4069604"/>
              <a:gd name="connsiteY1" fmla="*/ 257442 h 257442"/>
              <a:gd name="connsiteX2" fmla="*/ 0 w 4069604"/>
              <a:gd name="connsiteY2" fmla="*/ 257442 h 257442"/>
              <a:gd name="connsiteX3" fmla="*/ 54721 w 4069604"/>
              <a:gd name="connsiteY3" fmla="*/ 0 h 257442"/>
              <a:gd name="connsiteX0" fmla="*/ 4069604 w 4069604"/>
              <a:gd name="connsiteY0" fmla="*/ 0 h 257442"/>
              <a:gd name="connsiteX1" fmla="*/ 4014883 w 4069604"/>
              <a:gd name="connsiteY1" fmla="*/ 257442 h 257442"/>
              <a:gd name="connsiteX2" fmla="*/ 0 w 4069604"/>
              <a:gd name="connsiteY2" fmla="*/ 257442 h 257442"/>
              <a:gd name="connsiteX3" fmla="*/ 54721 w 4069604"/>
              <a:gd name="connsiteY3" fmla="*/ 0 h 257442"/>
              <a:gd name="connsiteX0" fmla="*/ 4069604 w 4069604"/>
              <a:gd name="connsiteY0" fmla="*/ 0 h 257442"/>
              <a:gd name="connsiteX1" fmla="*/ 4014883 w 4069604"/>
              <a:gd name="connsiteY1" fmla="*/ 257442 h 257442"/>
              <a:gd name="connsiteX2" fmla="*/ 0 w 4069604"/>
              <a:gd name="connsiteY2" fmla="*/ 257442 h 257442"/>
              <a:gd name="connsiteX3" fmla="*/ 54721 w 4069604"/>
              <a:gd name="connsiteY3" fmla="*/ 0 h 257442"/>
              <a:gd name="connsiteX0" fmla="*/ 4390204 w 4390204"/>
              <a:gd name="connsiteY0" fmla="*/ 0 h 257442"/>
              <a:gd name="connsiteX1" fmla="*/ 4014883 w 4390204"/>
              <a:gd name="connsiteY1" fmla="*/ 257442 h 257442"/>
              <a:gd name="connsiteX2" fmla="*/ 0 w 4390204"/>
              <a:gd name="connsiteY2" fmla="*/ 257442 h 257442"/>
              <a:gd name="connsiteX3" fmla="*/ 54721 w 4390204"/>
              <a:gd name="connsiteY3" fmla="*/ 0 h 257442"/>
              <a:gd name="connsiteX0" fmla="*/ 4390204 w 4390204"/>
              <a:gd name="connsiteY0" fmla="*/ 0 h 257442"/>
              <a:gd name="connsiteX1" fmla="*/ 4335483 w 4390204"/>
              <a:gd name="connsiteY1" fmla="*/ 257442 h 257442"/>
              <a:gd name="connsiteX2" fmla="*/ 0 w 4390204"/>
              <a:gd name="connsiteY2" fmla="*/ 257442 h 257442"/>
              <a:gd name="connsiteX3" fmla="*/ 54721 w 4390204"/>
              <a:gd name="connsiteY3" fmla="*/ 0 h 257442"/>
              <a:gd name="connsiteX0" fmla="*/ 4390204 w 4390204"/>
              <a:gd name="connsiteY0" fmla="*/ 0 h 257442"/>
              <a:gd name="connsiteX1" fmla="*/ 4335483 w 4390204"/>
              <a:gd name="connsiteY1" fmla="*/ 257442 h 257442"/>
              <a:gd name="connsiteX2" fmla="*/ 0 w 4390204"/>
              <a:gd name="connsiteY2" fmla="*/ 257442 h 257442"/>
              <a:gd name="connsiteX3" fmla="*/ 54721 w 4390204"/>
              <a:gd name="connsiteY3" fmla="*/ 0 h 257442"/>
              <a:gd name="connsiteX0" fmla="*/ 4390204 w 4390204"/>
              <a:gd name="connsiteY0" fmla="*/ 0 h 257442"/>
              <a:gd name="connsiteX1" fmla="*/ 4335483 w 4390204"/>
              <a:gd name="connsiteY1" fmla="*/ 257442 h 257442"/>
              <a:gd name="connsiteX2" fmla="*/ 0 w 4390204"/>
              <a:gd name="connsiteY2" fmla="*/ 257442 h 257442"/>
              <a:gd name="connsiteX3" fmla="*/ 54721 w 4390204"/>
              <a:gd name="connsiteY3" fmla="*/ 0 h 257442"/>
              <a:gd name="connsiteX0" fmla="*/ 4643479 w 4643479"/>
              <a:gd name="connsiteY0" fmla="*/ 0 h 257442"/>
              <a:gd name="connsiteX1" fmla="*/ 4335483 w 4643479"/>
              <a:gd name="connsiteY1" fmla="*/ 257442 h 257442"/>
              <a:gd name="connsiteX2" fmla="*/ 0 w 4643479"/>
              <a:gd name="connsiteY2" fmla="*/ 257442 h 257442"/>
              <a:gd name="connsiteX3" fmla="*/ 54721 w 4643479"/>
              <a:gd name="connsiteY3" fmla="*/ 0 h 257442"/>
              <a:gd name="connsiteX0" fmla="*/ 4643479 w 4643479"/>
              <a:gd name="connsiteY0" fmla="*/ 0 h 257442"/>
              <a:gd name="connsiteX1" fmla="*/ 4588758 w 4643479"/>
              <a:gd name="connsiteY1" fmla="*/ 257442 h 257442"/>
              <a:gd name="connsiteX2" fmla="*/ 0 w 4643479"/>
              <a:gd name="connsiteY2" fmla="*/ 257442 h 257442"/>
              <a:gd name="connsiteX3" fmla="*/ 54721 w 4643479"/>
              <a:gd name="connsiteY3" fmla="*/ 0 h 257442"/>
              <a:gd name="connsiteX0" fmla="*/ 4643479 w 4643479"/>
              <a:gd name="connsiteY0" fmla="*/ 0 h 257442"/>
              <a:gd name="connsiteX1" fmla="*/ 4588758 w 4643479"/>
              <a:gd name="connsiteY1" fmla="*/ 257442 h 257442"/>
              <a:gd name="connsiteX2" fmla="*/ 0 w 4643479"/>
              <a:gd name="connsiteY2" fmla="*/ 257442 h 257442"/>
              <a:gd name="connsiteX3" fmla="*/ 54721 w 4643479"/>
              <a:gd name="connsiteY3" fmla="*/ 0 h 257442"/>
              <a:gd name="connsiteX0" fmla="*/ 4643479 w 4643479"/>
              <a:gd name="connsiteY0" fmla="*/ 0 h 257442"/>
              <a:gd name="connsiteX1" fmla="*/ 4588758 w 4643479"/>
              <a:gd name="connsiteY1" fmla="*/ 257442 h 257442"/>
              <a:gd name="connsiteX2" fmla="*/ 0 w 4643479"/>
              <a:gd name="connsiteY2" fmla="*/ 257442 h 257442"/>
              <a:gd name="connsiteX3" fmla="*/ 54721 w 4643479"/>
              <a:gd name="connsiteY3" fmla="*/ 0 h 257442"/>
              <a:gd name="connsiteX0" fmla="*/ 4821412 w 4821412"/>
              <a:gd name="connsiteY0" fmla="*/ 0 h 257442"/>
              <a:gd name="connsiteX1" fmla="*/ 4588758 w 4821412"/>
              <a:gd name="connsiteY1" fmla="*/ 257442 h 257442"/>
              <a:gd name="connsiteX2" fmla="*/ 0 w 4821412"/>
              <a:gd name="connsiteY2" fmla="*/ 257442 h 257442"/>
              <a:gd name="connsiteX3" fmla="*/ 54721 w 4821412"/>
              <a:gd name="connsiteY3" fmla="*/ 0 h 257442"/>
              <a:gd name="connsiteX0" fmla="*/ 4821412 w 4821412"/>
              <a:gd name="connsiteY0" fmla="*/ 0 h 257442"/>
              <a:gd name="connsiteX1" fmla="*/ 4766690 w 4821412"/>
              <a:gd name="connsiteY1" fmla="*/ 257442 h 257442"/>
              <a:gd name="connsiteX2" fmla="*/ 0 w 4821412"/>
              <a:gd name="connsiteY2" fmla="*/ 257442 h 257442"/>
              <a:gd name="connsiteX3" fmla="*/ 54721 w 4821412"/>
              <a:gd name="connsiteY3" fmla="*/ 0 h 257442"/>
              <a:gd name="connsiteX0" fmla="*/ 4821413 w 4821413"/>
              <a:gd name="connsiteY0" fmla="*/ 0 h 257442"/>
              <a:gd name="connsiteX1" fmla="*/ 4766691 w 4821413"/>
              <a:gd name="connsiteY1" fmla="*/ 257442 h 257442"/>
              <a:gd name="connsiteX2" fmla="*/ 0 w 4821413"/>
              <a:gd name="connsiteY2" fmla="*/ 257442 h 257442"/>
              <a:gd name="connsiteX3" fmla="*/ 54722 w 4821413"/>
              <a:gd name="connsiteY3" fmla="*/ 0 h 257442"/>
              <a:gd name="connsiteX0" fmla="*/ 4821413 w 4821413"/>
              <a:gd name="connsiteY0" fmla="*/ 0 h 257442"/>
              <a:gd name="connsiteX1" fmla="*/ 4766691 w 4821413"/>
              <a:gd name="connsiteY1" fmla="*/ 257442 h 257442"/>
              <a:gd name="connsiteX2" fmla="*/ 0 w 4821413"/>
              <a:gd name="connsiteY2" fmla="*/ 257442 h 257442"/>
              <a:gd name="connsiteX3" fmla="*/ 54722 w 4821413"/>
              <a:gd name="connsiteY3" fmla="*/ 0 h 257442"/>
              <a:gd name="connsiteX0" fmla="*/ 4989728 w 4989728"/>
              <a:gd name="connsiteY0" fmla="*/ 0 h 257442"/>
              <a:gd name="connsiteX1" fmla="*/ 4766691 w 4989728"/>
              <a:gd name="connsiteY1" fmla="*/ 257442 h 257442"/>
              <a:gd name="connsiteX2" fmla="*/ 0 w 4989728"/>
              <a:gd name="connsiteY2" fmla="*/ 257442 h 257442"/>
              <a:gd name="connsiteX3" fmla="*/ 54722 w 4989728"/>
              <a:gd name="connsiteY3" fmla="*/ 0 h 257442"/>
              <a:gd name="connsiteX0" fmla="*/ 4989728 w 4989728"/>
              <a:gd name="connsiteY0" fmla="*/ 0 h 257442"/>
              <a:gd name="connsiteX1" fmla="*/ 4935007 w 4989728"/>
              <a:gd name="connsiteY1" fmla="*/ 257442 h 257442"/>
              <a:gd name="connsiteX2" fmla="*/ 0 w 4989728"/>
              <a:gd name="connsiteY2" fmla="*/ 257442 h 257442"/>
              <a:gd name="connsiteX3" fmla="*/ 54722 w 4989728"/>
              <a:gd name="connsiteY3" fmla="*/ 0 h 257442"/>
              <a:gd name="connsiteX0" fmla="*/ 4989728 w 4989728"/>
              <a:gd name="connsiteY0" fmla="*/ 0 h 257442"/>
              <a:gd name="connsiteX1" fmla="*/ 4935007 w 4989728"/>
              <a:gd name="connsiteY1" fmla="*/ 257442 h 257442"/>
              <a:gd name="connsiteX2" fmla="*/ 0 w 4989728"/>
              <a:gd name="connsiteY2" fmla="*/ 257442 h 257442"/>
              <a:gd name="connsiteX3" fmla="*/ 54722 w 4989728"/>
              <a:gd name="connsiteY3" fmla="*/ 0 h 257442"/>
              <a:gd name="connsiteX0" fmla="*/ 4989728 w 4989728"/>
              <a:gd name="connsiteY0" fmla="*/ 0 h 257442"/>
              <a:gd name="connsiteX1" fmla="*/ 4935007 w 4989728"/>
              <a:gd name="connsiteY1" fmla="*/ 257442 h 257442"/>
              <a:gd name="connsiteX2" fmla="*/ 0 w 4989728"/>
              <a:gd name="connsiteY2" fmla="*/ 257442 h 257442"/>
              <a:gd name="connsiteX3" fmla="*/ 54721 w 4989728"/>
              <a:gd name="connsiteY3" fmla="*/ 0 h 257442"/>
              <a:gd name="connsiteX0" fmla="*/ 5150028 w 5150028"/>
              <a:gd name="connsiteY0" fmla="*/ 0 h 257442"/>
              <a:gd name="connsiteX1" fmla="*/ 4935007 w 5150028"/>
              <a:gd name="connsiteY1" fmla="*/ 257442 h 257442"/>
              <a:gd name="connsiteX2" fmla="*/ 0 w 5150028"/>
              <a:gd name="connsiteY2" fmla="*/ 257442 h 257442"/>
              <a:gd name="connsiteX3" fmla="*/ 54721 w 5150028"/>
              <a:gd name="connsiteY3" fmla="*/ 0 h 257442"/>
              <a:gd name="connsiteX0" fmla="*/ 5150028 w 5150028"/>
              <a:gd name="connsiteY0" fmla="*/ 0 h 257442"/>
              <a:gd name="connsiteX1" fmla="*/ 5095307 w 5150028"/>
              <a:gd name="connsiteY1" fmla="*/ 257442 h 257442"/>
              <a:gd name="connsiteX2" fmla="*/ 0 w 5150028"/>
              <a:gd name="connsiteY2" fmla="*/ 257442 h 257442"/>
              <a:gd name="connsiteX3" fmla="*/ 54721 w 5150028"/>
              <a:gd name="connsiteY3" fmla="*/ 0 h 257442"/>
              <a:gd name="connsiteX0" fmla="*/ 5150028 w 5150028"/>
              <a:gd name="connsiteY0" fmla="*/ 0 h 257442"/>
              <a:gd name="connsiteX1" fmla="*/ 5095307 w 5150028"/>
              <a:gd name="connsiteY1" fmla="*/ 257442 h 257442"/>
              <a:gd name="connsiteX2" fmla="*/ 0 w 5150028"/>
              <a:gd name="connsiteY2" fmla="*/ 257442 h 257442"/>
              <a:gd name="connsiteX3" fmla="*/ 54721 w 5150028"/>
              <a:gd name="connsiteY3" fmla="*/ 0 h 257442"/>
              <a:gd name="connsiteX0" fmla="*/ 5150028 w 5150028"/>
              <a:gd name="connsiteY0" fmla="*/ 0 h 257442"/>
              <a:gd name="connsiteX1" fmla="*/ 5095307 w 5150028"/>
              <a:gd name="connsiteY1" fmla="*/ 257442 h 257442"/>
              <a:gd name="connsiteX2" fmla="*/ 0 w 5150028"/>
              <a:gd name="connsiteY2" fmla="*/ 257442 h 257442"/>
              <a:gd name="connsiteX3" fmla="*/ 54721 w 5150028"/>
              <a:gd name="connsiteY3" fmla="*/ 0 h 257442"/>
              <a:gd name="connsiteX0" fmla="*/ 2114581 w 5095307"/>
              <a:gd name="connsiteY0" fmla="*/ 0 h 257442"/>
              <a:gd name="connsiteX1" fmla="*/ 5095307 w 5095307"/>
              <a:gd name="connsiteY1" fmla="*/ 257442 h 257442"/>
              <a:gd name="connsiteX2" fmla="*/ 0 w 5095307"/>
              <a:gd name="connsiteY2" fmla="*/ 257442 h 257442"/>
              <a:gd name="connsiteX3" fmla="*/ 54721 w 5095307"/>
              <a:gd name="connsiteY3" fmla="*/ 0 h 257442"/>
              <a:gd name="connsiteX0" fmla="*/ 2114581 w 2114581"/>
              <a:gd name="connsiteY0" fmla="*/ 0 h 257442"/>
              <a:gd name="connsiteX1" fmla="*/ 2059861 w 2114581"/>
              <a:gd name="connsiteY1" fmla="*/ 257442 h 257442"/>
              <a:gd name="connsiteX2" fmla="*/ 0 w 2114581"/>
              <a:gd name="connsiteY2" fmla="*/ 257442 h 257442"/>
              <a:gd name="connsiteX3" fmla="*/ 54721 w 2114581"/>
              <a:gd name="connsiteY3" fmla="*/ 0 h 257442"/>
              <a:gd name="connsiteX0" fmla="*/ 2114580 w 2114580"/>
              <a:gd name="connsiteY0" fmla="*/ 0 h 257442"/>
              <a:gd name="connsiteX1" fmla="*/ 2059860 w 2114580"/>
              <a:gd name="connsiteY1" fmla="*/ 257442 h 257442"/>
              <a:gd name="connsiteX2" fmla="*/ 0 w 2114580"/>
              <a:gd name="connsiteY2" fmla="*/ 257442 h 257442"/>
              <a:gd name="connsiteX3" fmla="*/ 54720 w 2114580"/>
              <a:gd name="connsiteY3" fmla="*/ 0 h 257442"/>
              <a:gd name="connsiteX0" fmla="*/ 2114580 w 2114580"/>
              <a:gd name="connsiteY0" fmla="*/ 0 h 257442"/>
              <a:gd name="connsiteX1" fmla="*/ 2059860 w 2114580"/>
              <a:gd name="connsiteY1" fmla="*/ 257442 h 257442"/>
              <a:gd name="connsiteX2" fmla="*/ 0 w 2114580"/>
              <a:gd name="connsiteY2" fmla="*/ 257442 h 257442"/>
              <a:gd name="connsiteX3" fmla="*/ 54720 w 2114580"/>
              <a:gd name="connsiteY3" fmla="*/ 0 h 257442"/>
              <a:gd name="connsiteX0" fmla="*/ 2274881 w 2274881"/>
              <a:gd name="connsiteY0" fmla="*/ 0 h 257442"/>
              <a:gd name="connsiteX1" fmla="*/ 2059860 w 2274881"/>
              <a:gd name="connsiteY1" fmla="*/ 257442 h 257442"/>
              <a:gd name="connsiteX2" fmla="*/ 0 w 2274881"/>
              <a:gd name="connsiteY2" fmla="*/ 257442 h 257442"/>
              <a:gd name="connsiteX3" fmla="*/ 54720 w 2274881"/>
              <a:gd name="connsiteY3" fmla="*/ 0 h 257442"/>
              <a:gd name="connsiteX0" fmla="*/ 2274881 w 2274881"/>
              <a:gd name="connsiteY0" fmla="*/ 0 h 257442"/>
              <a:gd name="connsiteX1" fmla="*/ 2220160 w 2274881"/>
              <a:gd name="connsiteY1" fmla="*/ 257442 h 257442"/>
              <a:gd name="connsiteX2" fmla="*/ 0 w 2274881"/>
              <a:gd name="connsiteY2" fmla="*/ 257442 h 257442"/>
              <a:gd name="connsiteX3" fmla="*/ 54720 w 2274881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1 w 2274882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1 w 2274882"/>
              <a:gd name="connsiteY3" fmla="*/ 0 h 257442"/>
              <a:gd name="connsiteX0" fmla="*/ 2579452 w 2579452"/>
              <a:gd name="connsiteY0" fmla="*/ 0 h 257442"/>
              <a:gd name="connsiteX1" fmla="*/ 222016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772967 w 2772967"/>
              <a:gd name="connsiteY0" fmla="*/ 0 h 257442"/>
              <a:gd name="connsiteX1" fmla="*/ 2524731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772967 w 2772967"/>
              <a:gd name="connsiteY0" fmla="*/ 0 h 257442"/>
              <a:gd name="connsiteX1" fmla="*/ 2718246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772967 w 2772967"/>
              <a:gd name="connsiteY0" fmla="*/ 0 h 257442"/>
              <a:gd name="connsiteX1" fmla="*/ 2718246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772967 w 2772967"/>
              <a:gd name="connsiteY0" fmla="*/ 0 h 257442"/>
              <a:gd name="connsiteX1" fmla="*/ 2718246 w 2772967"/>
              <a:gd name="connsiteY1" fmla="*/ 257442 h 257442"/>
              <a:gd name="connsiteX2" fmla="*/ 0 w 2772967"/>
              <a:gd name="connsiteY2" fmla="*/ 257442 h 257442"/>
              <a:gd name="connsiteX3" fmla="*/ 54721 w 2772967"/>
              <a:gd name="connsiteY3" fmla="*/ 0 h 257442"/>
              <a:gd name="connsiteX0" fmla="*/ 2579452 w 2718246"/>
              <a:gd name="connsiteY0" fmla="*/ 0 h 257442"/>
              <a:gd name="connsiteX1" fmla="*/ 2718246 w 2718246"/>
              <a:gd name="connsiteY1" fmla="*/ 257442 h 257442"/>
              <a:gd name="connsiteX2" fmla="*/ 0 w 2718246"/>
              <a:gd name="connsiteY2" fmla="*/ 257442 h 257442"/>
              <a:gd name="connsiteX3" fmla="*/ 54721 w 2718246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579452 w 2579452"/>
              <a:gd name="connsiteY0" fmla="*/ 0 h 257442"/>
              <a:gd name="connsiteX1" fmla="*/ 2524731 w 2579452"/>
              <a:gd name="connsiteY1" fmla="*/ 257442 h 257442"/>
              <a:gd name="connsiteX2" fmla="*/ 0 w 2579452"/>
              <a:gd name="connsiteY2" fmla="*/ 257442 h 257442"/>
              <a:gd name="connsiteX3" fmla="*/ 54721 w 2579452"/>
              <a:gd name="connsiteY3" fmla="*/ 0 h 257442"/>
              <a:gd name="connsiteX0" fmla="*/ 2427166 w 2524731"/>
              <a:gd name="connsiteY0" fmla="*/ 0 h 257442"/>
              <a:gd name="connsiteX1" fmla="*/ 2524731 w 2524731"/>
              <a:gd name="connsiteY1" fmla="*/ 257442 h 257442"/>
              <a:gd name="connsiteX2" fmla="*/ 0 w 2524731"/>
              <a:gd name="connsiteY2" fmla="*/ 257442 h 257442"/>
              <a:gd name="connsiteX3" fmla="*/ 54721 w 2524731"/>
              <a:gd name="connsiteY3" fmla="*/ 0 h 257442"/>
              <a:gd name="connsiteX0" fmla="*/ 2427166 w 2427166"/>
              <a:gd name="connsiteY0" fmla="*/ 0 h 257442"/>
              <a:gd name="connsiteX1" fmla="*/ 2372446 w 2427166"/>
              <a:gd name="connsiteY1" fmla="*/ 257442 h 257442"/>
              <a:gd name="connsiteX2" fmla="*/ 0 w 2427166"/>
              <a:gd name="connsiteY2" fmla="*/ 257442 h 257442"/>
              <a:gd name="connsiteX3" fmla="*/ 54721 w 2427166"/>
              <a:gd name="connsiteY3" fmla="*/ 0 h 257442"/>
              <a:gd name="connsiteX0" fmla="*/ 2427165 w 2427165"/>
              <a:gd name="connsiteY0" fmla="*/ 0 h 257442"/>
              <a:gd name="connsiteX1" fmla="*/ 2372445 w 2427165"/>
              <a:gd name="connsiteY1" fmla="*/ 257442 h 257442"/>
              <a:gd name="connsiteX2" fmla="*/ 0 w 2427165"/>
              <a:gd name="connsiteY2" fmla="*/ 257442 h 257442"/>
              <a:gd name="connsiteX3" fmla="*/ 54720 w 2427165"/>
              <a:gd name="connsiteY3" fmla="*/ 0 h 257442"/>
              <a:gd name="connsiteX0" fmla="*/ 2427165 w 2427165"/>
              <a:gd name="connsiteY0" fmla="*/ 0 h 257442"/>
              <a:gd name="connsiteX1" fmla="*/ 2372445 w 2427165"/>
              <a:gd name="connsiteY1" fmla="*/ 257442 h 257442"/>
              <a:gd name="connsiteX2" fmla="*/ 0 w 2427165"/>
              <a:gd name="connsiteY2" fmla="*/ 257442 h 257442"/>
              <a:gd name="connsiteX3" fmla="*/ 54721 w 2427165"/>
              <a:gd name="connsiteY3" fmla="*/ 0 h 257442"/>
              <a:gd name="connsiteX0" fmla="*/ 2274882 w 2372445"/>
              <a:gd name="connsiteY0" fmla="*/ 0 h 257442"/>
              <a:gd name="connsiteX1" fmla="*/ 2372445 w 2372445"/>
              <a:gd name="connsiteY1" fmla="*/ 257442 h 257442"/>
              <a:gd name="connsiteX2" fmla="*/ 0 w 2372445"/>
              <a:gd name="connsiteY2" fmla="*/ 257442 h 257442"/>
              <a:gd name="connsiteX3" fmla="*/ 54721 w 2372445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1 w 2274882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1 w 2274882"/>
              <a:gd name="connsiteY3" fmla="*/ 0 h 257442"/>
              <a:gd name="connsiteX0" fmla="*/ 2274882 w 2274882"/>
              <a:gd name="connsiteY0" fmla="*/ 0 h 257442"/>
              <a:gd name="connsiteX1" fmla="*/ 2220161 w 2274882"/>
              <a:gd name="connsiteY1" fmla="*/ 257442 h 257442"/>
              <a:gd name="connsiteX2" fmla="*/ 0 w 2274882"/>
              <a:gd name="connsiteY2" fmla="*/ 257442 h 257442"/>
              <a:gd name="connsiteX3" fmla="*/ 54721 w 2274882"/>
              <a:gd name="connsiteY3" fmla="*/ 0 h 257442"/>
              <a:gd name="connsiteX0" fmla="*/ 2114581 w 2220161"/>
              <a:gd name="connsiteY0" fmla="*/ 0 h 257442"/>
              <a:gd name="connsiteX1" fmla="*/ 2220161 w 2220161"/>
              <a:gd name="connsiteY1" fmla="*/ 257442 h 257442"/>
              <a:gd name="connsiteX2" fmla="*/ 0 w 2220161"/>
              <a:gd name="connsiteY2" fmla="*/ 257442 h 257442"/>
              <a:gd name="connsiteX3" fmla="*/ 54721 w 2220161"/>
              <a:gd name="connsiteY3" fmla="*/ 0 h 257442"/>
              <a:gd name="connsiteX0" fmla="*/ 2114581 w 2114581"/>
              <a:gd name="connsiteY0" fmla="*/ 0 h 257442"/>
              <a:gd name="connsiteX1" fmla="*/ 2059861 w 2114581"/>
              <a:gd name="connsiteY1" fmla="*/ 257442 h 257442"/>
              <a:gd name="connsiteX2" fmla="*/ 0 w 2114581"/>
              <a:gd name="connsiteY2" fmla="*/ 257442 h 257442"/>
              <a:gd name="connsiteX3" fmla="*/ 54721 w 2114581"/>
              <a:gd name="connsiteY3" fmla="*/ 0 h 257442"/>
              <a:gd name="connsiteX0" fmla="*/ 2114580 w 2114580"/>
              <a:gd name="connsiteY0" fmla="*/ 0 h 257442"/>
              <a:gd name="connsiteX1" fmla="*/ 2059860 w 2114580"/>
              <a:gd name="connsiteY1" fmla="*/ 257442 h 257442"/>
              <a:gd name="connsiteX2" fmla="*/ 0 w 2114580"/>
              <a:gd name="connsiteY2" fmla="*/ 257442 h 257442"/>
              <a:gd name="connsiteX3" fmla="*/ 54720 w 2114580"/>
              <a:gd name="connsiteY3" fmla="*/ 0 h 257442"/>
              <a:gd name="connsiteX0" fmla="*/ 2114580 w 2114580"/>
              <a:gd name="connsiteY0" fmla="*/ 0 h 257442"/>
              <a:gd name="connsiteX1" fmla="*/ 2059860 w 2114580"/>
              <a:gd name="connsiteY1" fmla="*/ 257442 h 257442"/>
              <a:gd name="connsiteX2" fmla="*/ 0 w 2114580"/>
              <a:gd name="connsiteY2" fmla="*/ 257442 h 257442"/>
              <a:gd name="connsiteX3" fmla="*/ 54720 w 2114580"/>
              <a:gd name="connsiteY3" fmla="*/ 0 h 257442"/>
              <a:gd name="connsiteX0" fmla="*/ 2316559 w 2316559"/>
              <a:gd name="connsiteY0" fmla="*/ 0 h 257442"/>
              <a:gd name="connsiteX1" fmla="*/ 2059860 w 2316559"/>
              <a:gd name="connsiteY1" fmla="*/ 257442 h 257442"/>
              <a:gd name="connsiteX2" fmla="*/ 0 w 2316559"/>
              <a:gd name="connsiteY2" fmla="*/ 257442 h 257442"/>
              <a:gd name="connsiteX3" fmla="*/ 54720 w 2316559"/>
              <a:gd name="connsiteY3" fmla="*/ 0 h 257442"/>
              <a:gd name="connsiteX0" fmla="*/ 2316559 w 2316559"/>
              <a:gd name="connsiteY0" fmla="*/ 0 h 257442"/>
              <a:gd name="connsiteX1" fmla="*/ 2261838 w 2316559"/>
              <a:gd name="connsiteY1" fmla="*/ 257442 h 257442"/>
              <a:gd name="connsiteX2" fmla="*/ 0 w 2316559"/>
              <a:gd name="connsiteY2" fmla="*/ 257442 h 257442"/>
              <a:gd name="connsiteX3" fmla="*/ 54720 w 2316559"/>
              <a:gd name="connsiteY3" fmla="*/ 0 h 257442"/>
              <a:gd name="connsiteX0" fmla="*/ 2316560 w 2316560"/>
              <a:gd name="connsiteY0" fmla="*/ 0 h 257442"/>
              <a:gd name="connsiteX1" fmla="*/ 2261839 w 2316560"/>
              <a:gd name="connsiteY1" fmla="*/ 257442 h 257442"/>
              <a:gd name="connsiteX2" fmla="*/ 0 w 2316560"/>
              <a:gd name="connsiteY2" fmla="*/ 257442 h 257442"/>
              <a:gd name="connsiteX3" fmla="*/ 54721 w 2316560"/>
              <a:gd name="connsiteY3" fmla="*/ 0 h 257442"/>
              <a:gd name="connsiteX0" fmla="*/ 2316560 w 2316560"/>
              <a:gd name="connsiteY0" fmla="*/ 0 h 257442"/>
              <a:gd name="connsiteX1" fmla="*/ 2261839 w 2316560"/>
              <a:gd name="connsiteY1" fmla="*/ 257442 h 257442"/>
              <a:gd name="connsiteX2" fmla="*/ 0 w 2316560"/>
              <a:gd name="connsiteY2" fmla="*/ 257442 h 257442"/>
              <a:gd name="connsiteX3" fmla="*/ 54721 w 2316560"/>
              <a:gd name="connsiteY3" fmla="*/ 0 h 257442"/>
              <a:gd name="connsiteX0" fmla="*/ 2577849 w 2577849"/>
              <a:gd name="connsiteY0" fmla="*/ 0 h 257442"/>
              <a:gd name="connsiteX1" fmla="*/ 2261839 w 2577849"/>
              <a:gd name="connsiteY1" fmla="*/ 257442 h 257442"/>
              <a:gd name="connsiteX2" fmla="*/ 0 w 2577849"/>
              <a:gd name="connsiteY2" fmla="*/ 257442 h 257442"/>
              <a:gd name="connsiteX3" fmla="*/ 54721 w 2577849"/>
              <a:gd name="connsiteY3" fmla="*/ 0 h 257442"/>
              <a:gd name="connsiteX0" fmla="*/ 2577849 w 2577849"/>
              <a:gd name="connsiteY0" fmla="*/ 0 h 257442"/>
              <a:gd name="connsiteX1" fmla="*/ 2523128 w 2577849"/>
              <a:gd name="connsiteY1" fmla="*/ 257442 h 257442"/>
              <a:gd name="connsiteX2" fmla="*/ 0 w 2577849"/>
              <a:gd name="connsiteY2" fmla="*/ 257442 h 257442"/>
              <a:gd name="connsiteX3" fmla="*/ 54721 w 2577849"/>
              <a:gd name="connsiteY3" fmla="*/ 0 h 257442"/>
              <a:gd name="connsiteX0" fmla="*/ 2577849 w 2577849"/>
              <a:gd name="connsiteY0" fmla="*/ 0 h 257442"/>
              <a:gd name="connsiteX1" fmla="*/ 2523128 w 2577849"/>
              <a:gd name="connsiteY1" fmla="*/ 257442 h 257442"/>
              <a:gd name="connsiteX2" fmla="*/ 0 w 2577849"/>
              <a:gd name="connsiteY2" fmla="*/ 257442 h 257442"/>
              <a:gd name="connsiteX3" fmla="*/ 54721 w 2577849"/>
              <a:gd name="connsiteY3" fmla="*/ 0 h 257442"/>
              <a:gd name="connsiteX0" fmla="*/ 2577849 w 2577849"/>
              <a:gd name="connsiteY0" fmla="*/ 0 h 257442"/>
              <a:gd name="connsiteX1" fmla="*/ 2523128 w 2577849"/>
              <a:gd name="connsiteY1" fmla="*/ 257442 h 257442"/>
              <a:gd name="connsiteX2" fmla="*/ 0 w 2577849"/>
              <a:gd name="connsiteY2" fmla="*/ 257442 h 257442"/>
              <a:gd name="connsiteX3" fmla="*/ 54721 w 2577849"/>
              <a:gd name="connsiteY3" fmla="*/ 0 h 257442"/>
              <a:gd name="connsiteX0" fmla="*/ 2746164 w 2746164"/>
              <a:gd name="connsiteY0" fmla="*/ 0 h 257442"/>
              <a:gd name="connsiteX1" fmla="*/ 2523128 w 2746164"/>
              <a:gd name="connsiteY1" fmla="*/ 257442 h 257442"/>
              <a:gd name="connsiteX2" fmla="*/ 0 w 2746164"/>
              <a:gd name="connsiteY2" fmla="*/ 257442 h 257442"/>
              <a:gd name="connsiteX3" fmla="*/ 54721 w 2746164"/>
              <a:gd name="connsiteY3" fmla="*/ 0 h 257442"/>
              <a:gd name="connsiteX0" fmla="*/ 2746164 w 2746164"/>
              <a:gd name="connsiteY0" fmla="*/ 0 h 257442"/>
              <a:gd name="connsiteX1" fmla="*/ 2691442 w 2746164"/>
              <a:gd name="connsiteY1" fmla="*/ 257442 h 257442"/>
              <a:gd name="connsiteX2" fmla="*/ 0 w 2746164"/>
              <a:gd name="connsiteY2" fmla="*/ 257442 h 257442"/>
              <a:gd name="connsiteX3" fmla="*/ 54721 w 2746164"/>
              <a:gd name="connsiteY3" fmla="*/ 0 h 257442"/>
              <a:gd name="connsiteX0" fmla="*/ 2746165 w 2746165"/>
              <a:gd name="connsiteY0" fmla="*/ 0 h 257442"/>
              <a:gd name="connsiteX1" fmla="*/ 2691443 w 2746165"/>
              <a:gd name="connsiteY1" fmla="*/ 257442 h 257442"/>
              <a:gd name="connsiteX2" fmla="*/ 0 w 2746165"/>
              <a:gd name="connsiteY2" fmla="*/ 257442 h 257442"/>
              <a:gd name="connsiteX3" fmla="*/ 54722 w 2746165"/>
              <a:gd name="connsiteY3" fmla="*/ 0 h 257442"/>
              <a:gd name="connsiteX0" fmla="*/ 2746165 w 2746165"/>
              <a:gd name="connsiteY0" fmla="*/ 0 h 257442"/>
              <a:gd name="connsiteX1" fmla="*/ 2691443 w 2746165"/>
              <a:gd name="connsiteY1" fmla="*/ 257442 h 257442"/>
              <a:gd name="connsiteX2" fmla="*/ 0 w 2746165"/>
              <a:gd name="connsiteY2" fmla="*/ 257442 h 257442"/>
              <a:gd name="connsiteX3" fmla="*/ 54722 w 2746165"/>
              <a:gd name="connsiteY3" fmla="*/ 0 h 257442"/>
              <a:gd name="connsiteX0" fmla="*/ 2914480 w 2914480"/>
              <a:gd name="connsiteY0" fmla="*/ 0 h 257442"/>
              <a:gd name="connsiteX1" fmla="*/ 2691443 w 2914480"/>
              <a:gd name="connsiteY1" fmla="*/ 257442 h 257442"/>
              <a:gd name="connsiteX2" fmla="*/ 0 w 2914480"/>
              <a:gd name="connsiteY2" fmla="*/ 257442 h 257442"/>
              <a:gd name="connsiteX3" fmla="*/ 54722 w 2914480"/>
              <a:gd name="connsiteY3" fmla="*/ 0 h 257442"/>
              <a:gd name="connsiteX0" fmla="*/ 2914480 w 2914480"/>
              <a:gd name="connsiteY0" fmla="*/ 0 h 257442"/>
              <a:gd name="connsiteX1" fmla="*/ 2859758 w 2914480"/>
              <a:gd name="connsiteY1" fmla="*/ 257442 h 257442"/>
              <a:gd name="connsiteX2" fmla="*/ 0 w 2914480"/>
              <a:gd name="connsiteY2" fmla="*/ 257442 h 257442"/>
              <a:gd name="connsiteX3" fmla="*/ 54722 w 2914480"/>
              <a:gd name="connsiteY3" fmla="*/ 0 h 257442"/>
              <a:gd name="connsiteX0" fmla="*/ 2914480 w 2914480"/>
              <a:gd name="connsiteY0" fmla="*/ 0 h 257442"/>
              <a:gd name="connsiteX1" fmla="*/ 2859758 w 2914480"/>
              <a:gd name="connsiteY1" fmla="*/ 257442 h 257442"/>
              <a:gd name="connsiteX2" fmla="*/ 0 w 2914480"/>
              <a:gd name="connsiteY2" fmla="*/ 257442 h 257442"/>
              <a:gd name="connsiteX3" fmla="*/ 54722 w 2914480"/>
              <a:gd name="connsiteY3" fmla="*/ 0 h 257442"/>
              <a:gd name="connsiteX0" fmla="*/ 2914480 w 2914480"/>
              <a:gd name="connsiteY0" fmla="*/ 0 h 257442"/>
              <a:gd name="connsiteX1" fmla="*/ 2859758 w 2914480"/>
              <a:gd name="connsiteY1" fmla="*/ 257442 h 257442"/>
              <a:gd name="connsiteX2" fmla="*/ 0 w 2914480"/>
              <a:gd name="connsiteY2" fmla="*/ 257442 h 257442"/>
              <a:gd name="connsiteX3" fmla="*/ 54721 w 2914480"/>
              <a:gd name="connsiteY3" fmla="*/ 0 h 257442"/>
              <a:gd name="connsiteX0" fmla="*/ 3167754 w 3167754"/>
              <a:gd name="connsiteY0" fmla="*/ 0 h 257442"/>
              <a:gd name="connsiteX1" fmla="*/ 2859758 w 3167754"/>
              <a:gd name="connsiteY1" fmla="*/ 257442 h 257442"/>
              <a:gd name="connsiteX2" fmla="*/ 0 w 3167754"/>
              <a:gd name="connsiteY2" fmla="*/ 257442 h 257442"/>
              <a:gd name="connsiteX3" fmla="*/ 54721 w 3167754"/>
              <a:gd name="connsiteY3" fmla="*/ 0 h 257442"/>
              <a:gd name="connsiteX0" fmla="*/ 3167754 w 3167754"/>
              <a:gd name="connsiteY0" fmla="*/ 0 h 257442"/>
              <a:gd name="connsiteX1" fmla="*/ 3113033 w 3167754"/>
              <a:gd name="connsiteY1" fmla="*/ 257442 h 257442"/>
              <a:gd name="connsiteX2" fmla="*/ 0 w 3167754"/>
              <a:gd name="connsiteY2" fmla="*/ 257442 h 257442"/>
              <a:gd name="connsiteX3" fmla="*/ 54721 w 3167754"/>
              <a:gd name="connsiteY3" fmla="*/ 0 h 257442"/>
              <a:gd name="connsiteX0" fmla="*/ 3167754 w 3167754"/>
              <a:gd name="connsiteY0" fmla="*/ 0 h 257442"/>
              <a:gd name="connsiteX1" fmla="*/ 3113033 w 3167754"/>
              <a:gd name="connsiteY1" fmla="*/ 257442 h 257442"/>
              <a:gd name="connsiteX2" fmla="*/ 0 w 3167754"/>
              <a:gd name="connsiteY2" fmla="*/ 257442 h 257442"/>
              <a:gd name="connsiteX3" fmla="*/ 54721 w 3167754"/>
              <a:gd name="connsiteY3" fmla="*/ 0 h 257442"/>
              <a:gd name="connsiteX0" fmla="*/ 3167754 w 3167754"/>
              <a:gd name="connsiteY0" fmla="*/ 0 h 257442"/>
              <a:gd name="connsiteX1" fmla="*/ 3113033 w 3167754"/>
              <a:gd name="connsiteY1" fmla="*/ 257442 h 257442"/>
              <a:gd name="connsiteX2" fmla="*/ 0 w 3167754"/>
              <a:gd name="connsiteY2" fmla="*/ 257442 h 257442"/>
              <a:gd name="connsiteX3" fmla="*/ 54721 w 3167754"/>
              <a:gd name="connsiteY3" fmla="*/ 0 h 257442"/>
              <a:gd name="connsiteX0" fmla="*/ 3446676 w 3446676"/>
              <a:gd name="connsiteY0" fmla="*/ 0 h 257442"/>
              <a:gd name="connsiteX1" fmla="*/ 3113033 w 3446676"/>
              <a:gd name="connsiteY1" fmla="*/ 257442 h 257442"/>
              <a:gd name="connsiteX2" fmla="*/ 0 w 3446676"/>
              <a:gd name="connsiteY2" fmla="*/ 257442 h 257442"/>
              <a:gd name="connsiteX3" fmla="*/ 54721 w 3446676"/>
              <a:gd name="connsiteY3" fmla="*/ 0 h 257442"/>
              <a:gd name="connsiteX0" fmla="*/ 3446676 w 3446676"/>
              <a:gd name="connsiteY0" fmla="*/ 0 h 257442"/>
              <a:gd name="connsiteX1" fmla="*/ 3391955 w 3446676"/>
              <a:gd name="connsiteY1" fmla="*/ 257442 h 257442"/>
              <a:gd name="connsiteX2" fmla="*/ 0 w 3446676"/>
              <a:gd name="connsiteY2" fmla="*/ 257442 h 257442"/>
              <a:gd name="connsiteX3" fmla="*/ 54721 w 3446676"/>
              <a:gd name="connsiteY3" fmla="*/ 0 h 257442"/>
              <a:gd name="connsiteX0" fmla="*/ 3446676 w 3446676"/>
              <a:gd name="connsiteY0" fmla="*/ 0 h 257442"/>
              <a:gd name="connsiteX1" fmla="*/ 3391955 w 3446676"/>
              <a:gd name="connsiteY1" fmla="*/ 257442 h 257442"/>
              <a:gd name="connsiteX2" fmla="*/ 0 w 3446676"/>
              <a:gd name="connsiteY2" fmla="*/ 257442 h 257442"/>
              <a:gd name="connsiteX3" fmla="*/ 54721 w 3446676"/>
              <a:gd name="connsiteY3" fmla="*/ 0 h 257442"/>
              <a:gd name="connsiteX0" fmla="*/ 3446676 w 3446676"/>
              <a:gd name="connsiteY0" fmla="*/ 0 h 257442"/>
              <a:gd name="connsiteX1" fmla="*/ 3391955 w 3446676"/>
              <a:gd name="connsiteY1" fmla="*/ 257442 h 257442"/>
              <a:gd name="connsiteX2" fmla="*/ 0 w 3446676"/>
              <a:gd name="connsiteY2" fmla="*/ 257442 h 257442"/>
              <a:gd name="connsiteX3" fmla="*/ 54721 w 3446676"/>
              <a:gd name="connsiteY3" fmla="*/ 0 h 257442"/>
              <a:gd name="connsiteX0" fmla="*/ 3614992 w 3614992"/>
              <a:gd name="connsiteY0" fmla="*/ 0 h 257442"/>
              <a:gd name="connsiteX1" fmla="*/ 3391955 w 3614992"/>
              <a:gd name="connsiteY1" fmla="*/ 257442 h 257442"/>
              <a:gd name="connsiteX2" fmla="*/ 0 w 3614992"/>
              <a:gd name="connsiteY2" fmla="*/ 257442 h 257442"/>
              <a:gd name="connsiteX3" fmla="*/ 54721 w 3614992"/>
              <a:gd name="connsiteY3" fmla="*/ 0 h 257442"/>
              <a:gd name="connsiteX0" fmla="*/ 3614992 w 3614992"/>
              <a:gd name="connsiteY0" fmla="*/ 0 h 257442"/>
              <a:gd name="connsiteX1" fmla="*/ 3560271 w 3614992"/>
              <a:gd name="connsiteY1" fmla="*/ 257442 h 257442"/>
              <a:gd name="connsiteX2" fmla="*/ 0 w 3614992"/>
              <a:gd name="connsiteY2" fmla="*/ 257442 h 257442"/>
              <a:gd name="connsiteX3" fmla="*/ 54721 w 3614992"/>
              <a:gd name="connsiteY3" fmla="*/ 0 h 257442"/>
              <a:gd name="connsiteX0" fmla="*/ 3614992 w 3614992"/>
              <a:gd name="connsiteY0" fmla="*/ 0 h 257442"/>
              <a:gd name="connsiteX1" fmla="*/ 3560271 w 3614992"/>
              <a:gd name="connsiteY1" fmla="*/ 257442 h 257442"/>
              <a:gd name="connsiteX2" fmla="*/ 0 w 3614992"/>
              <a:gd name="connsiteY2" fmla="*/ 257442 h 257442"/>
              <a:gd name="connsiteX3" fmla="*/ 54721 w 3614992"/>
              <a:gd name="connsiteY3" fmla="*/ 0 h 257442"/>
              <a:gd name="connsiteX0" fmla="*/ 3614992 w 3614992"/>
              <a:gd name="connsiteY0" fmla="*/ 0 h 257442"/>
              <a:gd name="connsiteX1" fmla="*/ 3560271 w 3614992"/>
              <a:gd name="connsiteY1" fmla="*/ 257442 h 257442"/>
              <a:gd name="connsiteX2" fmla="*/ 0 w 3614992"/>
              <a:gd name="connsiteY2" fmla="*/ 257442 h 257442"/>
              <a:gd name="connsiteX3" fmla="*/ 54721 w 3614992"/>
              <a:gd name="connsiteY3" fmla="*/ 0 h 257442"/>
              <a:gd name="connsiteX0" fmla="*/ 3775291 w 3775291"/>
              <a:gd name="connsiteY0" fmla="*/ 0 h 257442"/>
              <a:gd name="connsiteX1" fmla="*/ 3560271 w 3775291"/>
              <a:gd name="connsiteY1" fmla="*/ 257442 h 257442"/>
              <a:gd name="connsiteX2" fmla="*/ 0 w 3775291"/>
              <a:gd name="connsiteY2" fmla="*/ 257442 h 257442"/>
              <a:gd name="connsiteX3" fmla="*/ 54721 w 3775291"/>
              <a:gd name="connsiteY3" fmla="*/ 0 h 257442"/>
              <a:gd name="connsiteX0" fmla="*/ 3775291 w 3775291"/>
              <a:gd name="connsiteY0" fmla="*/ 0 h 257442"/>
              <a:gd name="connsiteX1" fmla="*/ 3720571 w 3775291"/>
              <a:gd name="connsiteY1" fmla="*/ 257442 h 257442"/>
              <a:gd name="connsiteX2" fmla="*/ 0 w 3775291"/>
              <a:gd name="connsiteY2" fmla="*/ 257442 h 257442"/>
              <a:gd name="connsiteX3" fmla="*/ 54721 w 3775291"/>
              <a:gd name="connsiteY3" fmla="*/ 0 h 257442"/>
              <a:gd name="connsiteX0" fmla="*/ 3775291 w 3775291"/>
              <a:gd name="connsiteY0" fmla="*/ 0 h 257442"/>
              <a:gd name="connsiteX1" fmla="*/ 3720571 w 3775291"/>
              <a:gd name="connsiteY1" fmla="*/ 257442 h 257442"/>
              <a:gd name="connsiteX2" fmla="*/ 0 w 3775291"/>
              <a:gd name="connsiteY2" fmla="*/ 257442 h 257442"/>
              <a:gd name="connsiteX3" fmla="*/ 54721 w 3775291"/>
              <a:gd name="connsiteY3" fmla="*/ 0 h 257442"/>
              <a:gd name="connsiteX0" fmla="*/ 3775291 w 3775291"/>
              <a:gd name="connsiteY0" fmla="*/ 0 h 257442"/>
              <a:gd name="connsiteX1" fmla="*/ 3720571 w 3775291"/>
              <a:gd name="connsiteY1" fmla="*/ 257442 h 257442"/>
              <a:gd name="connsiteX2" fmla="*/ 0 w 3775291"/>
              <a:gd name="connsiteY2" fmla="*/ 257442 h 257442"/>
              <a:gd name="connsiteX3" fmla="*/ 54721 w 3775291"/>
              <a:gd name="connsiteY3" fmla="*/ 0 h 257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75291" h="257442">
                <a:moveTo>
                  <a:pt x="3775291" y="0"/>
                </a:moveTo>
                <a:lnTo>
                  <a:pt x="3720571" y="257442"/>
                </a:lnTo>
                <a:lnTo>
                  <a:pt x="0" y="257442"/>
                </a:lnTo>
                <a:lnTo>
                  <a:pt x="54721" y="0"/>
                </a:lnTo>
                <a:close/>
              </a:path>
            </a:pathLst>
          </a:custGeom>
          <a:solidFill>
            <a:srgbClr val="B4B4B4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8" name="btfpRunningAgenda2LevelTextRight587740">
            <a:extLst>
              <a:ext uri="{FF2B5EF4-FFF2-40B4-BE49-F238E27FC236}">
                <a16:creationId xmlns:a16="http://schemas.microsoft.com/office/drawing/2014/main" id="{F1E23BB5-9580-43B4-94D4-DDFF938BAD69}"/>
              </a:ext>
            </a:extLst>
          </p:cNvPr>
          <p:cNvSpPr txBox="1"/>
          <p:nvPr/>
        </p:nvSpPr>
        <p:spPr bwMode="gray">
          <a:xfrm>
            <a:off x="3185196" y="944429"/>
            <a:ext cx="4803217" cy="257442"/>
          </a:xfrm>
          <a:prstGeom prst="rect">
            <a:avLst/>
          </a:prstGeom>
          <a:noFill/>
        </p:spPr>
        <p:txBody>
          <a:bodyPr vert="horz" wrap="squar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200" b="1" cap="all" spc="450" dirty="0" err="1">
                <a:solidFill>
                  <a:srgbClr val="FFFFFF"/>
                </a:solidFill>
              </a:rPr>
              <a:t>Perchè</a:t>
            </a:r>
            <a:r>
              <a:rPr lang="en-US" sz="1200" b="1" cap="all" spc="450" dirty="0">
                <a:solidFill>
                  <a:srgbClr val="FFFFFF"/>
                </a:solidFill>
              </a:rPr>
              <a:t> </a:t>
            </a:r>
            <a:r>
              <a:rPr lang="en-US" sz="1200" b="1" cap="all" spc="450" dirty="0" err="1">
                <a:solidFill>
                  <a:srgbClr val="FFFFFF"/>
                </a:solidFill>
              </a:rPr>
              <a:t>vince</a:t>
            </a:r>
            <a:r>
              <a:rPr lang="en-US" sz="1200" b="1" cap="all" spc="450" dirty="0">
                <a:solidFill>
                  <a:srgbClr val="FFFFFF"/>
                </a:solidFill>
              </a:rPr>
              <a:t> Multiversity</a:t>
            </a:r>
          </a:p>
        </p:txBody>
      </p:sp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3C896025-4B90-C558-3939-B7379F79DE4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807476">
              <a:extLst>
                <a:ext uri="{FF2B5EF4-FFF2-40B4-BE49-F238E27FC236}">
                  <a16:creationId xmlns:a16="http://schemas.microsoft.com/office/drawing/2014/main" id="{F2504EF4-1A6B-1C93-7869-951D005BFDF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399523">
              <a:extLst>
                <a:ext uri="{FF2B5EF4-FFF2-40B4-BE49-F238E27FC236}">
                  <a16:creationId xmlns:a16="http://schemas.microsoft.com/office/drawing/2014/main" id="{FAA7771F-5297-FD07-603C-C846784F508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968285">
              <a:extLst>
                <a:ext uri="{FF2B5EF4-FFF2-40B4-BE49-F238E27FC236}">
                  <a16:creationId xmlns:a16="http://schemas.microsoft.com/office/drawing/2014/main" id="{E90F2F62-21E9-D57D-B99A-45230EFF9A3B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743969">
              <a:extLst>
                <a:ext uri="{FF2B5EF4-FFF2-40B4-BE49-F238E27FC236}">
                  <a16:creationId xmlns:a16="http://schemas.microsoft.com/office/drawing/2014/main" id="{5D2B9213-D191-0129-107B-B838852E392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CF3972C7-6D45-28F6-82AE-62898154B1F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533557">
              <a:extLst>
                <a:ext uri="{FF2B5EF4-FFF2-40B4-BE49-F238E27FC236}">
                  <a16:creationId xmlns:a16="http://schemas.microsoft.com/office/drawing/2014/main" id="{F325574C-B947-7BF0-EF92-B9F8894E8E6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706763">
              <a:extLst>
                <a:ext uri="{FF2B5EF4-FFF2-40B4-BE49-F238E27FC236}">
                  <a16:creationId xmlns:a16="http://schemas.microsoft.com/office/drawing/2014/main" id="{96AE06BD-B803-F0DC-9A70-A0A5A402BF32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343894">
              <a:extLst>
                <a:ext uri="{FF2B5EF4-FFF2-40B4-BE49-F238E27FC236}">
                  <a16:creationId xmlns:a16="http://schemas.microsoft.com/office/drawing/2014/main" id="{E9586AD1-E241-8846-2B11-6245D495B87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505101">
              <a:extLst>
                <a:ext uri="{FF2B5EF4-FFF2-40B4-BE49-F238E27FC236}">
                  <a16:creationId xmlns:a16="http://schemas.microsoft.com/office/drawing/2014/main" id="{BE843D66-1A01-9F5F-115D-359F2BDD4290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B4EC23B-D565-4845-A6C4-AF818A9A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sz="2133" dirty="0" err="1"/>
              <a:t>Multiversity</a:t>
            </a:r>
            <a:r>
              <a:rPr lang="it-IT" sz="2133" dirty="0"/>
              <a:t> offre una proposta che soddisfa tutti i fattori-chiave di successo (KSF) dell'istruzione online, superando costantemente la concorrenza</a:t>
            </a:r>
          </a:p>
        </p:txBody>
      </p:sp>
      <p:grpSp>
        <p:nvGrpSpPr>
          <p:cNvPr id="21" name="btfpRunningAgenda2Level587740">
            <a:extLst>
              <a:ext uri="{FF2B5EF4-FFF2-40B4-BE49-F238E27FC236}">
                <a16:creationId xmlns:a16="http://schemas.microsoft.com/office/drawing/2014/main" id="{15ADD95B-B105-8C6A-7B98-BD29D31876D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0" y="944429"/>
            <a:ext cx="3320039" cy="257442"/>
            <a:chOff x="0" y="876300"/>
            <a:chExt cx="3320039" cy="257442"/>
          </a:xfrm>
        </p:grpSpPr>
        <p:sp>
          <p:nvSpPr>
            <p:cNvPr id="22" name="btfpRunningAgenda2LevelBarLeft587740">
              <a:extLst>
                <a:ext uri="{FF2B5EF4-FFF2-40B4-BE49-F238E27FC236}">
                  <a16:creationId xmlns:a16="http://schemas.microsoft.com/office/drawing/2014/main" id="{108F4DC0-D5BD-889C-BE38-E646C05C8B52}"/>
                </a:ext>
              </a:extLst>
            </p:cNvPr>
            <p:cNvSpPr/>
            <p:nvPr/>
          </p:nvSpPr>
          <p:spPr bwMode="gray">
            <a:xfrm>
              <a:off x="0" y="876300"/>
              <a:ext cx="3320039" cy="257442"/>
            </a:xfrm>
            <a:custGeom>
              <a:avLst/>
              <a:gdLst>
                <a:gd name="connsiteX0" fmla="*/ 950801 w 3573314"/>
                <a:gd name="connsiteY0" fmla="*/ 0 h 257442"/>
                <a:gd name="connsiteX1" fmla="*/ 3573314 w 3573314"/>
                <a:gd name="connsiteY1" fmla="*/ 0 h 257442"/>
                <a:gd name="connsiteX2" fmla="*/ 3518593 w 3573314"/>
                <a:gd name="connsiteY2" fmla="*/ 257442 h 257442"/>
                <a:gd name="connsiteX3" fmla="*/ 0 w 3573314"/>
                <a:gd name="connsiteY3" fmla="*/ 257442 h 257442"/>
                <a:gd name="connsiteX0" fmla="*/ 950801 w 3518593"/>
                <a:gd name="connsiteY0" fmla="*/ 0 h 257442"/>
                <a:gd name="connsiteX1" fmla="*/ 896080 w 3518593"/>
                <a:gd name="connsiteY1" fmla="*/ 257442 h 257442"/>
                <a:gd name="connsiteX2" fmla="*/ 3518593 w 3518593"/>
                <a:gd name="connsiteY2" fmla="*/ 257442 h 257442"/>
                <a:gd name="connsiteX3" fmla="*/ 0 w 3518593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20106 w 1220106"/>
                <a:gd name="connsiteY0" fmla="*/ 0 h 257442"/>
                <a:gd name="connsiteX1" fmla="*/ 1064395 w 1220106"/>
                <a:gd name="connsiteY1" fmla="*/ 257442 h 257442"/>
                <a:gd name="connsiteX2" fmla="*/ 0 w 1220106"/>
                <a:gd name="connsiteY2" fmla="*/ 257442 h 257442"/>
                <a:gd name="connsiteX3" fmla="*/ 0 w 1220106"/>
                <a:gd name="connsiteY3" fmla="*/ 0 h 257442"/>
                <a:gd name="connsiteX0" fmla="*/ 1220106 w 1220106"/>
                <a:gd name="connsiteY0" fmla="*/ 0 h 257442"/>
                <a:gd name="connsiteX1" fmla="*/ 1165385 w 1220106"/>
                <a:gd name="connsiteY1" fmla="*/ 257442 h 257442"/>
                <a:gd name="connsiteX2" fmla="*/ 0 w 1220106"/>
                <a:gd name="connsiteY2" fmla="*/ 257442 h 257442"/>
                <a:gd name="connsiteX3" fmla="*/ 0 w 1220106"/>
                <a:gd name="connsiteY3" fmla="*/ 0 h 257442"/>
                <a:gd name="connsiteX0" fmla="*/ 1220106 w 1220106"/>
                <a:gd name="connsiteY0" fmla="*/ 0 h 257442"/>
                <a:gd name="connsiteX1" fmla="*/ 1165385 w 1220106"/>
                <a:gd name="connsiteY1" fmla="*/ 257442 h 257442"/>
                <a:gd name="connsiteX2" fmla="*/ 0 w 1220106"/>
                <a:gd name="connsiteY2" fmla="*/ 257442 h 257442"/>
                <a:gd name="connsiteX3" fmla="*/ 0 w 1220106"/>
                <a:gd name="connsiteY3" fmla="*/ 0 h 257442"/>
                <a:gd name="connsiteX0" fmla="*/ 1220106 w 1220106"/>
                <a:gd name="connsiteY0" fmla="*/ 0 h 257442"/>
                <a:gd name="connsiteX1" fmla="*/ 1165385 w 1220106"/>
                <a:gd name="connsiteY1" fmla="*/ 257442 h 257442"/>
                <a:gd name="connsiteX2" fmla="*/ 0 w 1220106"/>
                <a:gd name="connsiteY2" fmla="*/ 257442 h 257442"/>
                <a:gd name="connsiteX3" fmla="*/ 0 w 1220106"/>
                <a:gd name="connsiteY3" fmla="*/ 0 h 257442"/>
                <a:gd name="connsiteX0" fmla="*/ 1380406 w 1380406"/>
                <a:gd name="connsiteY0" fmla="*/ 0 h 257442"/>
                <a:gd name="connsiteX1" fmla="*/ 11653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540706 w 1540706"/>
                <a:gd name="connsiteY0" fmla="*/ 0 h 257442"/>
                <a:gd name="connsiteX1" fmla="*/ 13256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709021 w 1709021"/>
                <a:gd name="connsiteY0" fmla="*/ 0 h 257442"/>
                <a:gd name="connsiteX1" fmla="*/ 1485985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869321 w 1869321"/>
                <a:gd name="connsiteY0" fmla="*/ 0 h 257442"/>
                <a:gd name="connsiteX1" fmla="*/ 16543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970311 w 1970311"/>
                <a:gd name="connsiteY0" fmla="*/ 0 h 257442"/>
                <a:gd name="connsiteX1" fmla="*/ 1814600 w 1970311"/>
                <a:gd name="connsiteY1" fmla="*/ 257442 h 257442"/>
                <a:gd name="connsiteX2" fmla="*/ 0 w 1970311"/>
                <a:gd name="connsiteY2" fmla="*/ 257442 h 257442"/>
                <a:gd name="connsiteX3" fmla="*/ 0 w 1970311"/>
                <a:gd name="connsiteY3" fmla="*/ 0 h 257442"/>
                <a:gd name="connsiteX0" fmla="*/ 1970311 w 1970311"/>
                <a:gd name="connsiteY0" fmla="*/ 0 h 257442"/>
                <a:gd name="connsiteX1" fmla="*/ 1915590 w 1970311"/>
                <a:gd name="connsiteY1" fmla="*/ 257442 h 257442"/>
                <a:gd name="connsiteX2" fmla="*/ 0 w 1970311"/>
                <a:gd name="connsiteY2" fmla="*/ 257442 h 257442"/>
                <a:gd name="connsiteX3" fmla="*/ 0 w 1970311"/>
                <a:gd name="connsiteY3" fmla="*/ 0 h 257442"/>
                <a:gd name="connsiteX0" fmla="*/ 1970311 w 1970311"/>
                <a:gd name="connsiteY0" fmla="*/ 0 h 257442"/>
                <a:gd name="connsiteX1" fmla="*/ 1915590 w 1970311"/>
                <a:gd name="connsiteY1" fmla="*/ 257442 h 257442"/>
                <a:gd name="connsiteX2" fmla="*/ 0 w 1970311"/>
                <a:gd name="connsiteY2" fmla="*/ 257442 h 257442"/>
                <a:gd name="connsiteX3" fmla="*/ 0 w 1970311"/>
                <a:gd name="connsiteY3" fmla="*/ 0 h 257442"/>
                <a:gd name="connsiteX0" fmla="*/ 1970311 w 1970311"/>
                <a:gd name="connsiteY0" fmla="*/ 0 h 257442"/>
                <a:gd name="connsiteX1" fmla="*/ 1915590 w 1970311"/>
                <a:gd name="connsiteY1" fmla="*/ 257442 h 257442"/>
                <a:gd name="connsiteX2" fmla="*/ 0 w 1970311"/>
                <a:gd name="connsiteY2" fmla="*/ 257442 h 257442"/>
                <a:gd name="connsiteX3" fmla="*/ 0 w 1970311"/>
                <a:gd name="connsiteY3" fmla="*/ 0 h 257442"/>
                <a:gd name="connsiteX0" fmla="*/ 2122596 w 2122596"/>
                <a:gd name="connsiteY0" fmla="*/ 0 h 257442"/>
                <a:gd name="connsiteX1" fmla="*/ 1915590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290913 w 2290913"/>
                <a:gd name="connsiteY0" fmla="*/ 0 h 257442"/>
                <a:gd name="connsiteX1" fmla="*/ 2067875 w 2290913"/>
                <a:gd name="connsiteY1" fmla="*/ 257442 h 257442"/>
                <a:gd name="connsiteX2" fmla="*/ 0 w 2290913"/>
                <a:gd name="connsiteY2" fmla="*/ 257442 h 257442"/>
                <a:gd name="connsiteX3" fmla="*/ 1 w 2290913"/>
                <a:gd name="connsiteY3" fmla="*/ 0 h 257442"/>
                <a:gd name="connsiteX0" fmla="*/ 2290913 w 2290913"/>
                <a:gd name="connsiteY0" fmla="*/ 0 h 257442"/>
                <a:gd name="connsiteX1" fmla="*/ 2236192 w 2290913"/>
                <a:gd name="connsiteY1" fmla="*/ 257442 h 257442"/>
                <a:gd name="connsiteX2" fmla="*/ 0 w 2290913"/>
                <a:gd name="connsiteY2" fmla="*/ 257442 h 257442"/>
                <a:gd name="connsiteX3" fmla="*/ 1 w 2290913"/>
                <a:gd name="connsiteY3" fmla="*/ 0 h 257442"/>
                <a:gd name="connsiteX0" fmla="*/ 2290912 w 2290912"/>
                <a:gd name="connsiteY0" fmla="*/ 0 h 257442"/>
                <a:gd name="connsiteX1" fmla="*/ 2236191 w 2290912"/>
                <a:gd name="connsiteY1" fmla="*/ 257442 h 257442"/>
                <a:gd name="connsiteX2" fmla="*/ 0 w 2290912"/>
                <a:gd name="connsiteY2" fmla="*/ 257442 h 257442"/>
                <a:gd name="connsiteX3" fmla="*/ 0 w 2290912"/>
                <a:gd name="connsiteY3" fmla="*/ 0 h 257442"/>
                <a:gd name="connsiteX0" fmla="*/ 2290913 w 2290913"/>
                <a:gd name="connsiteY0" fmla="*/ 0 h 257442"/>
                <a:gd name="connsiteX1" fmla="*/ 2236192 w 2290913"/>
                <a:gd name="connsiteY1" fmla="*/ 257442 h 257442"/>
                <a:gd name="connsiteX2" fmla="*/ 1 w 2290913"/>
                <a:gd name="connsiteY2" fmla="*/ 257442 h 257442"/>
                <a:gd name="connsiteX3" fmla="*/ 0 w 2290913"/>
                <a:gd name="connsiteY3" fmla="*/ 0 h 257442"/>
                <a:gd name="connsiteX0" fmla="*/ 2391901 w 2391901"/>
                <a:gd name="connsiteY0" fmla="*/ 0 h 257442"/>
                <a:gd name="connsiteX1" fmla="*/ 2236192 w 2391901"/>
                <a:gd name="connsiteY1" fmla="*/ 257442 h 257442"/>
                <a:gd name="connsiteX2" fmla="*/ 1 w 2391901"/>
                <a:gd name="connsiteY2" fmla="*/ 257442 h 257442"/>
                <a:gd name="connsiteX3" fmla="*/ 0 w 2391901"/>
                <a:gd name="connsiteY3" fmla="*/ 0 h 257442"/>
                <a:gd name="connsiteX0" fmla="*/ 2391901 w 2391901"/>
                <a:gd name="connsiteY0" fmla="*/ 0 h 257442"/>
                <a:gd name="connsiteX1" fmla="*/ 2337180 w 2391901"/>
                <a:gd name="connsiteY1" fmla="*/ 257442 h 257442"/>
                <a:gd name="connsiteX2" fmla="*/ 1 w 2391901"/>
                <a:gd name="connsiteY2" fmla="*/ 257442 h 257442"/>
                <a:gd name="connsiteX3" fmla="*/ 0 w 2391901"/>
                <a:gd name="connsiteY3" fmla="*/ 0 h 257442"/>
                <a:gd name="connsiteX0" fmla="*/ 2391901 w 2391901"/>
                <a:gd name="connsiteY0" fmla="*/ 0 h 257442"/>
                <a:gd name="connsiteX1" fmla="*/ 2337180 w 2391901"/>
                <a:gd name="connsiteY1" fmla="*/ 257442 h 257442"/>
                <a:gd name="connsiteX2" fmla="*/ 1 w 2391901"/>
                <a:gd name="connsiteY2" fmla="*/ 257442 h 257442"/>
                <a:gd name="connsiteX3" fmla="*/ 0 w 2391901"/>
                <a:gd name="connsiteY3" fmla="*/ 0 h 257442"/>
                <a:gd name="connsiteX0" fmla="*/ 2391900 w 2391900"/>
                <a:gd name="connsiteY0" fmla="*/ 0 h 257442"/>
                <a:gd name="connsiteX1" fmla="*/ 2337179 w 2391900"/>
                <a:gd name="connsiteY1" fmla="*/ 257442 h 257442"/>
                <a:gd name="connsiteX2" fmla="*/ 0 w 2391900"/>
                <a:gd name="connsiteY2" fmla="*/ 257442 h 257442"/>
                <a:gd name="connsiteX3" fmla="*/ 0 w 2391900"/>
                <a:gd name="connsiteY3" fmla="*/ 0 h 257442"/>
                <a:gd name="connsiteX0" fmla="*/ 2569833 w 2569833"/>
                <a:gd name="connsiteY0" fmla="*/ 0 h 257442"/>
                <a:gd name="connsiteX1" fmla="*/ 2337179 w 2569833"/>
                <a:gd name="connsiteY1" fmla="*/ 257442 h 257442"/>
                <a:gd name="connsiteX2" fmla="*/ 0 w 2569833"/>
                <a:gd name="connsiteY2" fmla="*/ 257442 h 257442"/>
                <a:gd name="connsiteX3" fmla="*/ 0 w 2569833"/>
                <a:gd name="connsiteY3" fmla="*/ 0 h 257442"/>
                <a:gd name="connsiteX0" fmla="*/ 2569833 w 2569833"/>
                <a:gd name="connsiteY0" fmla="*/ 0 h 257442"/>
                <a:gd name="connsiteX1" fmla="*/ 2515112 w 2569833"/>
                <a:gd name="connsiteY1" fmla="*/ 257442 h 257442"/>
                <a:gd name="connsiteX2" fmla="*/ 0 w 2569833"/>
                <a:gd name="connsiteY2" fmla="*/ 257442 h 257442"/>
                <a:gd name="connsiteX3" fmla="*/ 0 w 2569833"/>
                <a:gd name="connsiteY3" fmla="*/ 0 h 257442"/>
                <a:gd name="connsiteX0" fmla="*/ 2569834 w 2569834"/>
                <a:gd name="connsiteY0" fmla="*/ 0 h 257442"/>
                <a:gd name="connsiteX1" fmla="*/ 2515113 w 2569834"/>
                <a:gd name="connsiteY1" fmla="*/ 257442 h 257442"/>
                <a:gd name="connsiteX2" fmla="*/ 0 w 2569834"/>
                <a:gd name="connsiteY2" fmla="*/ 257442 h 257442"/>
                <a:gd name="connsiteX3" fmla="*/ 1 w 2569834"/>
                <a:gd name="connsiteY3" fmla="*/ 0 h 257442"/>
                <a:gd name="connsiteX0" fmla="*/ 2569834 w 2569834"/>
                <a:gd name="connsiteY0" fmla="*/ 0 h 257442"/>
                <a:gd name="connsiteX1" fmla="*/ 2515113 w 2569834"/>
                <a:gd name="connsiteY1" fmla="*/ 257442 h 257442"/>
                <a:gd name="connsiteX2" fmla="*/ 0 w 2569834"/>
                <a:gd name="connsiteY2" fmla="*/ 257442 h 257442"/>
                <a:gd name="connsiteX3" fmla="*/ 0 w 2569834"/>
                <a:gd name="connsiteY3" fmla="*/ 0 h 257442"/>
                <a:gd name="connsiteX0" fmla="*/ 2738149 w 2738149"/>
                <a:gd name="connsiteY0" fmla="*/ 0 h 257442"/>
                <a:gd name="connsiteX1" fmla="*/ 2515113 w 2738149"/>
                <a:gd name="connsiteY1" fmla="*/ 257442 h 257442"/>
                <a:gd name="connsiteX2" fmla="*/ 0 w 2738149"/>
                <a:gd name="connsiteY2" fmla="*/ 257442 h 257442"/>
                <a:gd name="connsiteX3" fmla="*/ 0 w 2738149"/>
                <a:gd name="connsiteY3" fmla="*/ 0 h 257442"/>
                <a:gd name="connsiteX0" fmla="*/ 2738149 w 2738149"/>
                <a:gd name="connsiteY0" fmla="*/ 0 h 257442"/>
                <a:gd name="connsiteX1" fmla="*/ 2683428 w 2738149"/>
                <a:gd name="connsiteY1" fmla="*/ 257442 h 257442"/>
                <a:gd name="connsiteX2" fmla="*/ 0 w 2738149"/>
                <a:gd name="connsiteY2" fmla="*/ 257442 h 257442"/>
                <a:gd name="connsiteX3" fmla="*/ 0 w 2738149"/>
                <a:gd name="connsiteY3" fmla="*/ 0 h 257442"/>
                <a:gd name="connsiteX0" fmla="*/ 2738149 w 2738149"/>
                <a:gd name="connsiteY0" fmla="*/ 0 h 257442"/>
                <a:gd name="connsiteX1" fmla="*/ 2683428 w 2738149"/>
                <a:gd name="connsiteY1" fmla="*/ 257442 h 257442"/>
                <a:gd name="connsiteX2" fmla="*/ 0 w 2738149"/>
                <a:gd name="connsiteY2" fmla="*/ 257442 h 257442"/>
                <a:gd name="connsiteX3" fmla="*/ 0 w 2738149"/>
                <a:gd name="connsiteY3" fmla="*/ 0 h 257442"/>
                <a:gd name="connsiteX0" fmla="*/ 2738149 w 2738149"/>
                <a:gd name="connsiteY0" fmla="*/ 0 h 257442"/>
                <a:gd name="connsiteX1" fmla="*/ 2683428 w 2738149"/>
                <a:gd name="connsiteY1" fmla="*/ 257442 h 257442"/>
                <a:gd name="connsiteX2" fmla="*/ 0 w 2738149"/>
                <a:gd name="connsiteY2" fmla="*/ 257442 h 257442"/>
                <a:gd name="connsiteX3" fmla="*/ 0 w 2738149"/>
                <a:gd name="connsiteY3" fmla="*/ 0 h 257442"/>
                <a:gd name="connsiteX0" fmla="*/ 2890435 w 2890435"/>
                <a:gd name="connsiteY0" fmla="*/ 0 h 257442"/>
                <a:gd name="connsiteX1" fmla="*/ 2683428 w 2890435"/>
                <a:gd name="connsiteY1" fmla="*/ 257442 h 257442"/>
                <a:gd name="connsiteX2" fmla="*/ 0 w 2890435"/>
                <a:gd name="connsiteY2" fmla="*/ 257442 h 257442"/>
                <a:gd name="connsiteX3" fmla="*/ 0 w 2890435"/>
                <a:gd name="connsiteY3" fmla="*/ 0 h 257442"/>
                <a:gd name="connsiteX0" fmla="*/ 2890435 w 2890435"/>
                <a:gd name="connsiteY0" fmla="*/ 0 h 257442"/>
                <a:gd name="connsiteX1" fmla="*/ 2835714 w 2890435"/>
                <a:gd name="connsiteY1" fmla="*/ 257442 h 257442"/>
                <a:gd name="connsiteX2" fmla="*/ 0 w 2890435"/>
                <a:gd name="connsiteY2" fmla="*/ 257442 h 257442"/>
                <a:gd name="connsiteX3" fmla="*/ 0 w 2890435"/>
                <a:gd name="connsiteY3" fmla="*/ 0 h 257442"/>
                <a:gd name="connsiteX0" fmla="*/ 2890435 w 2890435"/>
                <a:gd name="connsiteY0" fmla="*/ 0 h 257442"/>
                <a:gd name="connsiteX1" fmla="*/ 2835714 w 2890435"/>
                <a:gd name="connsiteY1" fmla="*/ 257442 h 257442"/>
                <a:gd name="connsiteX2" fmla="*/ 0 w 2890435"/>
                <a:gd name="connsiteY2" fmla="*/ 257442 h 257442"/>
                <a:gd name="connsiteX3" fmla="*/ 0 w 2890435"/>
                <a:gd name="connsiteY3" fmla="*/ 0 h 257442"/>
                <a:gd name="connsiteX0" fmla="*/ 2890435 w 2890435"/>
                <a:gd name="connsiteY0" fmla="*/ 0 h 257442"/>
                <a:gd name="connsiteX1" fmla="*/ 2835714 w 2890435"/>
                <a:gd name="connsiteY1" fmla="*/ 257442 h 257442"/>
                <a:gd name="connsiteX2" fmla="*/ 0 w 2890435"/>
                <a:gd name="connsiteY2" fmla="*/ 257442 h 257442"/>
                <a:gd name="connsiteX3" fmla="*/ 0 w 2890435"/>
                <a:gd name="connsiteY3" fmla="*/ 0 h 257442"/>
                <a:gd name="connsiteX0" fmla="*/ 2991423 w 2991423"/>
                <a:gd name="connsiteY0" fmla="*/ 0 h 257442"/>
                <a:gd name="connsiteX1" fmla="*/ 2835714 w 2991423"/>
                <a:gd name="connsiteY1" fmla="*/ 257442 h 257442"/>
                <a:gd name="connsiteX2" fmla="*/ 0 w 2991423"/>
                <a:gd name="connsiteY2" fmla="*/ 257442 h 257442"/>
                <a:gd name="connsiteX3" fmla="*/ 0 w 2991423"/>
                <a:gd name="connsiteY3" fmla="*/ 0 h 257442"/>
                <a:gd name="connsiteX0" fmla="*/ 2991423 w 2991423"/>
                <a:gd name="connsiteY0" fmla="*/ 0 h 257442"/>
                <a:gd name="connsiteX1" fmla="*/ 2936702 w 2991423"/>
                <a:gd name="connsiteY1" fmla="*/ 257442 h 257442"/>
                <a:gd name="connsiteX2" fmla="*/ 0 w 2991423"/>
                <a:gd name="connsiteY2" fmla="*/ 257442 h 257442"/>
                <a:gd name="connsiteX3" fmla="*/ 0 w 2991423"/>
                <a:gd name="connsiteY3" fmla="*/ 0 h 257442"/>
                <a:gd name="connsiteX0" fmla="*/ 2991423 w 2991423"/>
                <a:gd name="connsiteY0" fmla="*/ 0 h 257442"/>
                <a:gd name="connsiteX1" fmla="*/ 2936702 w 2991423"/>
                <a:gd name="connsiteY1" fmla="*/ 257442 h 257442"/>
                <a:gd name="connsiteX2" fmla="*/ 0 w 2991423"/>
                <a:gd name="connsiteY2" fmla="*/ 257442 h 257442"/>
                <a:gd name="connsiteX3" fmla="*/ 0 w 2991423"/>
                <a:gd name="connsiteY3" fmla="*/ 0 h 257442"/>
                <a:gd name="connsiteX0" fmla="*/ 2991423 w 2991423"/>
                <a:gd name="connsiteY0" fmla="*/ 0 h 257442"/>
                <a:gd name="connsiteX1" fmla="*/ 2936702 w 2991423"/>
                <a:gd name="connsiteY1" fmla="*/ 257442 h 257442"/>
                <a:gd name="connsiteX2" fmla="*/ 0 w 2991423"/>
                <a:gd name="connsiteY2" fmla="*/ 257442 h 257442"/>
                <a:gd name="connsiteX3" fmla="*/ 0 w 2991423"/>
                <a:gd name="connsiteY3" fmla="*/ 0 h 257442"/>
                <a:gd name="connsiteX0" fmla="*/ 3159739 w 3159739"/>
                <a:gd name="connsiteY0" fmla="*/ 0 h 257442"/>
                <a:gd name="connsiteX1" fmla="*/ 2936702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159739 w 3159739"/>
                <a:gd name="connsiteY0" fmla="*/ 0 h 257442"/>
                <a:gd name="connsiteX1" fmla="*/ 3105018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159739 w 3159739"/>
                <a:gd name="connsiteY0" fmla="*/ 0 h 257442"/>
                <a:gd name="connsiteX1" fmla="*/ 3105018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159739 w 3159739"/>
                <a:gd name="connsiteY0" fmla="*/ 0 h 257442"/>
                <a:gd name="connsiteX1" fmla="*/ 3105018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320039 w 3320039"/>
                <a:gd name="connsiteY0" fmla="*/ 0 h 257442"/>
                <a:gd name="connsiteX1" fmla="*/ 3105018 w 3320039"/>
                <a:gd name="connsiteY1" fmla="*/ 257442 h 257442"/>
                <a:gd name="connsiteX2" fmla="*/ 0 w 3320039"/>
                <a:gd name="connsiteY2" fmla="*/ 257442 h 257442"/>
                <a:gd name="connsiteX3" fmla="*/ 0 w 3320039"/>
                <a:gd name="connsiteY3" fmla="*/ 0 h 257442"/>
                <a:gd name="connsiteX0" fmla="*/ 3320039 w 3320039"/>
                <a:gd name="connsiteY0" fmla="*/ 0 h 257442"/>
                <a:gd name="connsiteX1" fmla="*/ 3265318 w 3320039"/>
                <a:gd name="connsiteY1" fmla="*/ 257442 h 257442"/>
                <a:gd name="connsiteX2" fmla="*/ 0 w 3320039"/>
                <a:gd name="connsiteY2" fmla="*/ 257442 h 257442"/>
                <a:gd name="connsiteX3" fmla="*/ 0 w 3320039"/>
                <a:gd name="connsiteY3" fmla="*/ 0 h 257442"/>
                <a:gd name="connsiteX0" fmla="*/ 3320039 w 3320039"/>
                <a:gd name="connsiteY0" fmla="*/ 0 h 257442"/>
                <a:gd name="connsiteX1" fmla="*/ 3265318 w 3320039"/>
                <a:gd name="connsiteY1" fmla="*/ 257442 h 257442"/>
                <a:gd name="connsiteX2" fmla="*/ 0 w 3320039"/>
                <a:gd name="connsiteY2" fmla="*/ 257442 h 257442"/>
                <a:gd name="connsiteX3" fmla="*/ 0 w 3320039"/>
                <a:gd name="connsiteY3" fmla="*/ 0 h 257442"/>
                <a:gd name="connsiteX0" fmla="*/ 3320039 w 3320039"/>
                <a:gd name="connsiteY0" fmla="*/ 0 h 257442"/>
                <a:gd name="connsiteX1" fmla="*/ 3265318 w 3320039"/>
                <a:gd name="connsiteY1" fmla="*/ 257442 h 257442"/>
                <a:gd name="connsiteX2" fmla="*/ 0 w 3320039"/>
                <a:gd name="connsiteY2" fmla="*/ 257442 h 257442"/>
                <a:gd name="connsiteX3" fmla="*/ 0 w 3320039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0039" h="257442">
                  <a:moveTo>
                    <a:pt x="3320039" y="0"/>
                  </a:moveTo>
                  <a:lnTo>
                    <a:pt x="3265318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>
                <a:solidFill>
                  <a:schemeClr val="tx1"/>
                </a:solidFill>
              </a:endParaRPr>
            </a:p>
          </p:txBody>
        </p:sp>
        <p:sp>
          <p:nvSpPr>
            <p:cNvPr id="23" name="btfpRunningAgenda2LevelTextLeft587740">
              <a:extLst>
                <a:ext uri="{FF2B5EF4-FFF2-40B4-BE49-F238E27FC236}">
                  <a16:creationId xmlns:a16="http://schemas.microsoft.com/office/drawing/2014/main" id="{FDE41B3D-2502-D694-C088-E56DCDA4E18A}"/>
                </a:ext>
              </a:extLst>
            </p:cNvPr>
            <p:cNvSpPr txBox="1"/>
            <p:nvPr/>
          </p:nvSpPr>
          <p:spPr bwMode="gray">
            <a:xfrm>
              <a:off x="0" y="876300"/>
              <a:ext cx="3265318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it-IT" sz="1200" b="1" cap="all" spc="450" dirty="0">
                  <a:solidFill>
                    <a:srgbClr val="FFFFFF"/>
                  </a:solidFill>
                </a:rPr>
                <a:t>Università online</a:t>
              </a:r>
            </a:p>
          </p:txBody>
        </p:sp>
      </p:grpSp>
      <p:grpSp>
        <p:nvGrpSpPr>
          <p:cNvPr id="26" name="btfpColumnHeaderBox290326">
            <a:extLst>
              <a:ext uri="{FF2B5EF4-FFF2-40B4-BE49-F238E27FC236}">
                <a16:creationId xmlns:a16="http://schemas.microsoft.com/office/drawing/2014/main" id="{697498B0-512B-12A8-373A-2841159920E7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30199" y="1240884"/>
            <a:ext cx="4426853" cy="565218"/>
            <a:chOff x="330200" y="1020992"/>
            <a:chExt cx="11531600" cy="565218"/>
          </a:xfrm>
        </p:grpSpPr>
        <p:sp>
          <p:nvSpPr>
            <p:cNvPr id="27" name="btfpColumnHeaderBoxText290326">
              <a:extLst>
                <a:ext uri="{FF2B5EF4-FFF2-40B4-BE49-F238E27FC236}">
                  <a16:creationId xmlns:a16="http://schemas.microsoft.com/office/drawing/2014/main" id="{C5F9F1B1-D552-6AD0-6EC8-09652BE7067B}"/>
                </a:ext>
              </a:extLst>
            </p:cNvPr>
            <p:cNvSpPr txBox="1"/>
            <p:nvPr/>
          </p:nvSpPr>
          <p:spPr bwMode="gray">
            <a:xfrm>
              <a:off x="330200" y="1020992"/>
              <a:ext cx="11531600" cy="565218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it-IT" b="1" dirty="0">
                  <a:solidFill>
                    <a:srgbClr val="000000"/>
                  </a:solidFill>
                </a:rPr>
                <a:t>I fattori-chiave di successo delle università online</a:t>
              </a:r>
            </a:p>
          </p:txBody>
        </p:sp>
        <p:cxnSp>
          <p:nvCxnSpPr>
            <p:cNvPr id="28" name="btfpColumnHeaderBoxLine290326">
              <a:extLst>
                <a:ext uri="{FF2B5EF4-FFF2-40B4-BE49-F238E27FC236}">
                  <a16:creationId xmlns:a16="http://schemas.microsoft.com/office/drawing/2014/main" id="{EFBC16F0-F232-9514-0938-6E0951161E85}"/>
                </a:ext>
              </a:extLst>
            </p:cNvPr>
            <p:cNvCxnSpPr/>
            <p:nvPr/>
          </p:nvCxnSpPr>
          <p:spPr bwMode="gray">
            <a:xfrm>
              <a:off x="330200" y="1586210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HeaderBox290326">
            <a:extLst>
              <a:ext uri="{FF2B5EF4-FFF2-40B4-BE49-F238E27FC236}">
                <a16:creationId xmlns:a16="http://schemas.microsoft.com/office/drawing/2014/main" id="{C20AC194-63E2-24F9-18E3-3F42F3DDACF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4927600" y="1236013"/>
            <a:ext cx="4426853" cy="570089"/>
            <a:chOff x="330200" y="1016121"/>
            <a:chExt cx="11531600" cy="570089"/>
          </a:xfrm>
        </p:grpSpPr>
        <p:sp>
          <p:nvSpPr>
            <p:cNvPr id="15" name="btfpColumnHeaderBoxText290326">
              <a:extLst>
                <a:ext uri="{FF2B5EF4-FFF2-40B4-BE49-F238E27FC236}">
                  <a16:creationId xmlns:a16="http://schemas.microsoft.com/office/drawing/2014/main" id="{14844927-E716-9114-1286-0B15672F26FA}"/>
                </a:ext>
              </a:extLst>
            </p:cNvPr>
            <p:cNvSpPr txBox="1"/>
            <p:nvPr/>
          </p:nvSpPr>
          <p:spPr bwMode="gray">
            <a:xfrm>
              <a:off x="330200" y="1016121"/>
              <a:ext cx="11531600" cy="565218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it-IT" b="1" dirty="0">
                  <a:solidFill>
                    <a:srgbClr val="620013"/>
                  </a:solidFill>
                </a:rPr>
                <a:t>Multiversity Business Model</a:t>
              </a:r>
            </a:p>
            <a:p>
              <a:pPr marL="0" indent="0">
                <a:spcBef>
                  <a:spcPts val="0"/>
                </a:spcBef>
                <a:buNone/>
              </a:pPr>
              <a:r>
                <a:rPr lang="it-IT" b="1" dirty="0">
                  <a:solidFill>
                    <a:srgbClr val="620013"/>
                  </a:solidFill>
                </a:rPr>
                <a:t>Fattori-chiave di successo</a:t>
              </a:r>
            </a:p>
          </p:txBody>
        </p:sp>
        <p:cxnSp>
          <p:nvCxnSpPr>
            <p:cNvPr id="16" name="btfpColumnHeaderBoxLine290326">
              <a:extLst>
                <a:ext uri="{FF2B5EF4-FFF2-40B4-BE49-F238E27FC236}">
                  <a16:creationId xmlns:a16="http://schemas.microsoft.com/office/drawing/2014/main" id="{3F1756B3-CE46-3232-BAC2-A9A721DDA4E3}"/>
                </a:ext>
              </a:extLst>
            </p:cNvPr>
            <p:cNvCxnSpPr/>
            <p:nvPr/>
          </p:nvCxnSpPr>
          <p:spPr bwMode="gray">
            <a:xfrm>
              <a:off x="330200" y="1586210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btfpColumnHeaderBox290326">
            <a:extLst>
              <a:ext uri="{FF2B5EF4-FFF2-40B4-BE49-F238E27FC236}">
                <a16:creationId xmlns:a16="http://schemas.microsoft.com/office/drawing/2014/main" id="{44F8CC93-C7DD-A701-E037-26CF91291BF8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524999" y="987004"/>
            <a:ext cx="2581655" cy="819098"/>
            <a:chOff x="330200" y="1193833"/>
            <a:chExt cx="11531600" cy="819098"/>
          </a:xfrm>
        </p:grpSpPr>
        <p:sp>
          <p:nvSpPr>
            <p:cNvPr id="18" name="btfpColumnHeaderBoxText290326">
              <a:extLst>
                <a:ext uri="{FF2B5EF4-FFF2-40B4-BE49-F238E27FC236}">
                  <a16:creationId xmlns:a16="http://schemas.microsoft.com/office/drawing/2014/main" id="{A4ED2A5A-4B57-9F3C-5F66-CC6B5BD6854B}"/>
                </a:ext>
              </a:extLst>
            </p:cNvPr>
            <p:cNvSpPr txBox="1"/>
            <p:nvPr/>
          </p:nvSpPr>
          <p:spPr bwMode="gray">
            <a:xfrm>
              <a:off x="330200" y="1193833"/>
              <a:ext cx="11531600" cy="811440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it-IT" b="1" dirty="0">
                  <a:solidFill>
                    <a:srgbClr val="000000"/>
                  </a:solidFill>
                </a:rPr>
                <a:t>Posizionamento vs. altre università online italiane</a:t>
              </a:r>
            </a:p>
          </p:txBody>
        </p:sp>
        <p:cxnSp>
          <p:nvCxnSpPr>
            <p:cNvPr id="20" name="btfpColumnHeaderBoxLine290326">
              <a:extLst>
                <a:ext uri="{FF2B5EF4-FFF2-40B4-BE49-F238E27FC236}">
                  <a16:creationId xmlns:a16="http://schemas.microsoft.com/office/drawing/2014/main" id="{ADD40D9E-947D-C4E3-A08E-7AC5A362D304}"/>
                </a:ext>
              </a:extLst>
            </p:cNvPr>
            <p:cNvCxnSpPr/>
            <p:nvPr/>
          </p:nvCxnSpPr>
          <p:spPr bwMode="gray">
            <a:xfrm>
              <a:off x="330200" y="2012931"/>
              <a:ext cx="11531600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8D35ACDE-0DFA-8DCB-9725-019144782D66}"/>
              </a:ext>
            </a:extLst>
          </p:cNvPr>
          <p:cNvSpPr/>
          <p:nvPr/>
        </p:nvSpPr>
        <p:spPr bwMode="gray">
          <a:xfrm>
            <a:off x="1652213" y="1907958"/>
            <a:ext cx="3104840" cy="620431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it-IT" sz="1200" b="1" dirty="0">
                <a:solidFill>
                  <a:srgbClr val="000000"/>
                </a:solidFill>
              </a:rPr>
              <a:t>Offerta formativa </a:t>
            </a:r>
            <a:r>
              <a:rPr lang="it-IT" sz="1200" dirty="0">
                <a:solidFill>
                  <a:srgbClr val="000000"/>
                </a:solidFill>
              </a:rPr>
              <a:t>e </a:t>
            </a:r>
            <a:r>
              <a:rPr lang="it-IT" sz="1200" b="1" dirty="0">
                <a:solidFill>
                  <a:srgbClr val="000000"/>
                </a:solidFill>
              </a:rPr>
              <a:t>supporto</a:t>
            </a:r>
            <a:r>
              <a:rPr lang="it-IT" sz="1200" dirty="0">
                <a:solidFill>
                  <a:srgbClr val="000000"/>
                </a:solidFill>
              </a:rPr>
              <a:t> durante l’esperienza universitaria e post laurea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D190B9B-62ED-2EF9-F0C3-90B6C769860C}"/>
              </a:ext>
            </a:extLst>
          </p:cNvPr>
          <p:cNvSpPr/>
          <p:nvPr/>
        </p:nvSpPr>
        <p:spPr bwMode="gray">
          <a:xfrm>
            <a:off x="1652213" y="2655389"/>
            <a:ext cx="3104840" cy="620431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it-IT" sz="1200" b="1" dirty="0">
                <a:solidFill>
                  <a:srgbClr val="000000"/>
                </a:solidFill>
              </a:rPr>
              <a:t>Esperienza digitale positiva </a:t>
            </a:r>
            <a:r>
              <a:rPr lang="it-IT" sz="1200" dirty="0">
                <a:solidFill>
                  <a:srgbClr val="000000"/>
                </a:solidFill>
              </a:rPr>
              <a:t>resa </a:t>
            </a:r>
            <a:r>
              <a:rPr lang="it-IT" sz="1200" dirty="0" err="1">
                <a:solidFill>
                  <a:srgbClr val="000000"/>
                </a:solidFill>
              </a:rPr>
              <a:t>possible</a:t>
            </a:r>
            <a:r>
              <a:rPr lang="it-IT" sz="1200" dirty="0">
                <a:solidFill>
                  <a:srgbClr val="000000"/>
                </a:solidFill>
              </a:rPr>
              <a:t> da una </a:t>
            </a:r>
            <a:r>
              <a:rPr lang="it-IT" sz="1200" b="1" dirty="0">
                <a:solidFill>
                  <a:srgbClr val="000000"/>
                </a:solidFill>
              </a:rPr>
              <a:t>piattaforma IT avanzata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C7E6E0E-8524-CC3D-4F98-09896244B3EC}"/>
              </a:ext>
            </a:extLst>
          </p:cNvPr>
          <p:cNvSpPr/>
          <p:nvPr/>
        </p:nvSpPr>
        <p:spPr bwMode="gray">
          <a:xfrm>
            <a:off x="1652213" y="3402820"/>
            <a:ext cx="3104840" cy="620431"/>
          </a:xfrm>
          <a:prstGeom prst="rect">
            <a:avLst/>
          </a:prstGeom>
          <a:solidFill>
            <a:srgbClr val="DCE2D6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it-IT" sz="1200" b="1" dirty="0">
                <a:solidFill>
                  <a:srgbClr val="000000"/>
                </a:solidFill>
              </a:rPr>
              <a:t>Flessibilità</a:t>
            </a:r>
            <a:r>
              <a:rPr lang="it-IT" sz="1200" dirty="0">
                <a:solidFill>
                  <a:srgbClr val="000000"/>
                </a:solidFill>
              </a:rPr>
              <a:t> nel </a:t>
            </a:r>
            <a:r>
              <a:rPr lang="it-IT" sz="1200" b="1" dirty="0">
                <a:solidFill>
                  <a:srgbClr val="000000"/>
                </a:solidFill>
              </a:rPr>
              <a:t>luogo</a:t>
            </a:r>
            <a:r>
              <a:rPr lang="it-IT" sz="1200" dirty="0">
                <a:solidFill>
                  <a:srgbClr val="000000"/>
                </a:solidFill>
              </a:rPr>
              <a:t> e </a:t>
            </a:r>
            <a:r>
              <a:rPr lang="it-IT" sz="1200" b="1" dirty="0">
                <a:solidFill>
                  <a:srgbClr val="000000"/>
                </a:solidFill>
              </a:rPr>
              <a:t>numero</a:t>
            </a:r>
            <a:r>
              <a:rPr lang="it-IT" sz="1200" dirty="0">
                <a:solidFill>
                  <a:srgbClr val="000000"/>
                </a:solidFill>
              </a:rPr>
              <a:t> di </a:t>
            </a:r>
            <a:r>
              <a:rPr lang="it-IT" sz="1200" b="1" dirty="0">
                <a:solidFill>
                  <a:srgbClr val="000000"/>
                </a:solidFill>
              </a:rPr>
              <a:t>sessioni esam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58C70FA-6C56-B1D5-5027-EECE0ADEF45D}"/>
              </a:ext>
            </a:extLst>
          </p:cNvPr>
          <p:cNvSpPr/>
          <p:nvPr/>
        </p:nvSpPr>
        <p:spPr bwMode="gray">
          <a:xfrm>
            <a:off x="1652213" y="4150252"/>
            <a:ext cx="3104840" cy="620431"/>
          </a:xfrm>
          <a:prstGeom prst="rect">
            <a:avLst/>
          </a:prstGeom>
          <a:solidFill>
            <a:srgbClr val="DCE5EA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it-IT" sz="1200" dirty="0">
                <a:solidFill>
                  <a:srgbClr val="000000"/>
                </a:solidFill>
              </a:rPr>
              <a:t>Ampia</a:t>
            </a:r>
            <a:r>
              <a:rPr lang="it-IT" sz="1200" b="1" dirty="0">
                <a:solidFill>
                  <a:srgbClr val="000000"/>
                </a:solidFill>
              </a:rPr>
              <a:t> rete di orientamento </a:t>
            </a:r>
            <a:r>
              <a:rPr lang="it-IT" sz="1200" dirty="0">
                <a:solidFill>
                  <a:srgbClr val="000000"/>
                </a:solidFill>
              </a:rPr>
              <a:t>attraverso cui gli studenti possano iscriversi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BCEF2AC-441B-387A-2FC3-1FDE5541C233}"/>
              </a:ext>
            </a:extLst>
          </p:cNvPr>
          <p:cNvSpPr/>
          <p:nvPr/>
        </p:nvSpPr>
        <p:spPr bwMode="gray">
          <a:xfrm>
            <a:off x="1652213" y="4897683"/>
            <a:ext cx="3104840" cy="620431"/>
          </a:xfrm>
          <a:prstGeom prst="rect">
            <a:avLst/>
          </a:prstGeom>
          <a:solidFill>
            <a:srgbClr val="DCE5EA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it-IT" sz="1200" b="1" dirty="0">
                <a:solidFill>
                  <a:srgbClr val="000000"/>
                </a:solidFill>
              </a:rPr>
              <a:t>Investimenti</a:t>
            </a:r>
            <a:r>
              <a:rPr lang="it-IT" sz="1200" dirty="0">
                <a:solidFill>
                  <a:srgbClr val="000000"/>
                </a:solidFill>
              </a:rPr>
              <a:t> </a:t>
            </a:r>
            <a:r>
              <a:rPr lang="it-IT" sz="1200" b="1" dirty="0">
                <a:solidFill>
                  <a:srgbClr val="000000"/>
                </a:solidFill>
              </a:rPr>
              <a:t>marketing</a:t>
            </a:r>
            <a:r>
              <a:rPr lang="it-IT" sz="1200" dirty="0">
                <a:solidFill>
                  <a:srgbClr val="000000"/>
                </a:solidFill>
              </a:rPr>
              <a:t> </a:t>
            </a:r>
            <a:r>
              <a:rPr lang="it-IT" sz="1200" b="1" dirty="0">
                <a:solidFill>
                  <a:srgbClr val="000000"/>
                </a:solidFill>
              </a:rPr>
              <a:t>significativi</a:t>
            </a:r>
            <a:r>
              <a:rPr lang="it-IT" sz="1200" dirty="0">
                <a:solidFill>
                  <a:srgbClr val="000000"/>
                </a:solidFill>
              </a:rPr>
              <a:t> su canali tradizionali e media digitali e social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5471E5B-2297-ABAF-E22C-C86724633C28}"/>
              </a:ext>
            </a:extLst>
          </p:cNvPr>
          <p:cNvSpPr/>
          <p:nvPr/>
        </p:nvSpPr>
        <p:spPr bwMode="gray">
          <a:xfrm>
            <a:off x="1652213" y="5645114"/>
            <a:ext cx="3104840" cy="620431"/>
          </a:xfrm>
          <a:prstGeom prst="rect">
            <a:avLst/>
          </a:prstGeom>
          <a:solidFill>
            <a:srgbClr val="DCE5EA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it-IT" sz="1200" b="1" dirty="0">
                <a:solidFill>
                  <a:srgbClr val="000000"/>
                </a:solidFill>
              </a:rPr>
              <a:t>Prezzo competitivo</a:t>
            </a:r>
          </a:p>
        </p:txBody>
      </p:sp>
      <p:grpSp>
        <p:nvGrpSpPr>
          <p:cNvPr id="36" name="btfpRowHeaderBox918097">
            <a:extLst>
              <a:ext uri="{FF2B5EF4-FFF2-40B4-BE49-F238E27FC236}">
                <a16:creationId xmlns:a16="http://schemas.microsoft.com/office/drawing/2014/main" id="{D586515A-2F0F-5EB6-017B-D0472E2CA18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337458" y="1907958"/>
            <a:ext cx="1209909" cy="2115291"/>
            <a:chOff x="330200" y="6316561"/>
            <a:chExt cx="2540000" cy="249339"/>
          </a:xfrm>
        </p:grpSpPr>
        <p:sp>
          <p:nvSpPr>
            <p:cNvPr id="37" name="btfpRowHeaderBoxText918097">
              <a:extLst>
                <a:ext uri="{FF2B5EF4-FFF2-40B4-BE49-F238E27FC236}">
                  <a16:creationId xmlns:a16="http://schemas.microsoft.com/office/drawing/2014/main" id="{8CAFFA53-B09D-4F60-31A9-CC6F2718F4EA}"/>
                </a:ext>
              </a:extLst>
            </p:cNvPr>
            <p:cNvSpPr txBox="1"/>
            <p:nvPr/>
          </p:nvSpPr>
          <p:spPr bwMode="gray">
            <a:xfrm>
              <a:off x="330200" y="6316561"/>
              <a:ext cx="2540000" cy="24933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it-IT" sz="1200" b="1" dirty="0">
                  <a:solidFill>
                    <a:srgbClr val="104C3E"/>
                  </a:solidFill>
                </a:rPr>
                <a:t>Approccio centrato sullo studente</a:t>
              </a:r>
            </a:p>
          </p:txBody>
        </p:sp>
        <p:cxnSp>
          <p:nvCxnSpPr>
            <p:cNvPr id="38" name="btfpRowHeaderBoxLine918097">
              <a:extLst>
                <a:ext uri="{FF2B5EF4-FFF2-40B4-BE49-F238E27FC236}">
                  <a16:creationId xmlns:a16="http://schemas.microsoft.com/office/drawing/2014/main" id="{EC6B023D-D8F3-8933-A827-D14FCD6F433F}"/>
                </a:ext>
              </a:extLst>
            </p:cNvPr>
            <p:cNvCxnSpPr/>
            <p:nvPr/>
          </p:nvCxnSpPr>
          <p:spPr bwMode="gray">
            <a:xfrm>
              <a:off x="2870200" y="6316561"/>
              <a:ext cx="0" cy="249339"/>
            </a:xfrm>
            <a:prstGeom prst="line">
              <a:avLst/>
            </a:prstGeom>
            <a:ln w="76200" cap="flat">
              <a:solidFill>
                <a:srgbClr val="104C3E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btfpRowHeaderBox918097">
            <a:extLst>
              <a:ext uri="{FF2B5EF4-FFF2-40B4-BE49-F238E27FC236}">
                <a16:creationId xmlns:a16="http://schemas.microsoft.com/office/drawing/2014/main" id="{06A22AE1-D5EE-B0F8-7D85-D2C02698EB51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337458" y="4150252"/>
            <a:ext cx="1209909" cy="2115293"/>
            <a:chOff x="330200" y="6316561"/>
            <a:chExt cx="2540000" cy="249339"/>
          </a:xfrm>
        </p:grpSpPr>
        <p:sp>
          <p:nvSpPr>
            <p:cNvPr id="40" name="btfpRowHeaderBoxText918097">
              <a:extLst>
                <a:ext uri="{FF2B5EF4-FFF2-40B4-BE49-F238E27FC236}">
                  <a16:creationId xmlns:a16="http://schemas.microsoft.com/office/drawing/2014/main" id="{07F65999-0C26-9434-C98B-E0DCDDDA1619}"/>
                </a:ext>
              </a:extLst>
            </p:cNvPr>
            <p:cNvSpPr txBox="1"/>
            <p:nvPr/>
          </p:nvSpPr>
          <p:spPr bwMode="gray">
            <a:xfrm>
              <a:off x="330200" y="6316561"/>
              <a:ext cx="2540000" cy="249339"/>
            </a:xfrm>
            <a:prstGeom prst="rect">
              <a:avLst/>
            </a:prstGeom>
            <a:noFill/>
          </p:spPr>
          <p:txBody>
            <a:bodyPr vert="horz" wrap="square" lIns="36036" tIns="36036" rIns="180181" bIns="36036" rtlCol="0" anchor="t">
              <a:no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it-IT" sz="1200" b="1" dirty="0">
                  <a:solidFill>
                    <a:srgbClr val="2D475A"/>
                  </a:solidFill>
                </a:rPr>
                <a:t>Strategia Commerciale</a:t>
              </a:r>
            </a:p>
          </p:txBody>
        </p:sp>
        <p:cxnSp>
          <p:nvCxnSpPr>
            <p:cNvPr id="41" name="btfpRowHeaderBoxLine918097">
              <a:extLst>
                <a:ext uri="{FF2B5EF4-FFF2-40B4-BE49-F238E27FC236}">
                  <a16:creationId xmlns:a16="http://schemas.microsoft.com/office/drawing/2014/main" id="{F006D54C-1505-2C54-FC0A-840B10DEA4FC}"/>
                </a:ext>
              </a:extLst>
            </p:cNvPr>
            <p:cNvCxnSpPr/>
            <p:nvPr/>
          </p:nvCxnSpPr>
          <p:spPr bwMode="gray">
            <a:xfrm>
              <a:off x="2870200" y="6316561"/>
              <a:ext cx="0" cy="249339"/>
            </a:xfrm>
            <a:prstGeom prst="line">
              <a:avLst/>
            </a:prstGeom>
            <a:ln w="76200" cap="flat">
              <a:solidFill>
                <a:srgbClr val="2D475A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7F38EAB-8229-99BD-026D-8A9D11152E98}"/>
              </a:ext>
            </a:extLst>
          </p:cNvPr>
          <p:cNvCxnSpPr/>
          <p:nvPr/>
        </p:nvCxnSpPr>
        <p:spPr bwMode="gray">
          <a:xfrm>
            <a:off x="1660019" y="2582819"/>
            <a:ext cx="10197019" cy="0"/>
          </a:xfrm>
          <a:prstGeom prst="line">
            <a:avLst/>
          </a:prstGeom>
          <a:ln w="9525" cap="flat" cmpd="sng" algn="ctr">
            <a:solidFill>
              <a:srgbClr val="B4B4B4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B8E0F13-7B94-04B3-F9F2-8A379DE7EC65}"/>
              </a:ext>
            </a:extLst>
          </p:cNvPr>
          <p:cNvCxnSpPr/>
          <p:nvPr/>
        </p:nvCxnSpPr>
        <p:spPr bwMode="gray">
          <a:xfrm>
            <a:off x="1660020" y="3330250"/>
            <a:ext cx="10197019" cy="0"/>
          </a:xfrm>
          <a:prstGeom prst="line">
            <a:avLst/>
          </a:prstGeom>
          <a:ln w="9525" cap="flat" cmpd="sng" algn="ctr">
            <a:solidFill>
              <a:srgbClr val="B4B4B4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D468761-5BE7-22B0-EA5B-D938E4EA5140}"/>
              </a:ext>
            </a:extLst>
          </p:cNvPr>
          <p:cNvCxnSpPr>
            <a:cxnSpLocks/>
          </p:cNvCxnSpPr>
          <p:nvPr/>
        </p:nvCxnSpPr>
        <p:spPr bwMode="gray">
          <a:xfrm>
            <a:off x="337458" y="4076900"/>
            <a:ext cx="11519580" cy="0"/>
          </a:xfrm>
          <a:prstGeom prst="line">
            <a:avLst/>
          </a:prstGeom>
          <a:ln w="9525" cap="flat" cmpd="sng" algn="ctr">
            <a:solidFill>
              <a:srgbClr val="B4B4B4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03C9E25-7CBC-2D27-A22F-708A4866B381}"/>
              </a:ext>
            </a:extLst>
          </p:cNvPr>
          <p:cNvCxnSpPr/>
          <p:nvPr/>
        </p:nvCxnSpPr>
        <p:spPr bwMode="gray">
          <a:xfrm>
            <a:off x="1652213" y="4830755"/>
            <a:ext cx="10197019" cy="0"/>
          </a:xfrm>
          <a:prstGeom prst="line">
            <a:avLst/>
          </a:prstGeom>
          <a:ln w="9525" cap="flat" cmpd="sng" algn="ctr">
            <a:solidFill>
              <a:srgbClr val="B4B4B4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DA6DDE2-A3B6-F053-17FD-2C6C119F6878}"/>
              </a:ext>
            </a:extLst>
          </p:cNvPr>
          <p:cNvCxnSpPr/>
          <p:nvPr/>
        </p:nvCxnSpPr>
        <p:spPr bwMode="gray">
          <a:xfrm>
            <a:off x="1660019" y="5580926"/>
            <a:ext cx="10197019" cy="0"/>
          </a:xfrm>
          <a:prstGeom prst="line">
            <a:avLst/>
          </a:prstGeom>
          <a:ln w="9525" cap="flat" cmpd="sng" algn="ctr">
            <a:solidFill>
              <a:srgbClr val="B4B4B4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2D3A5071-0077-2F47-7737-07197F0BFFE0}"/>
              </a:ext>
            </a:extLst>
          </p:cNvPr>
          <p:cNvGrpSpPr/>
          <p:nvPr/>
        </p:nvGrpSpPr>
        <p:grpSpPr>
          <a:xfrm>
            <a:off x="10328265" y="2040576"/>
            <a:ext cx="629342" cy="358441"/>
            <a:chOff x="10286192" y="2040576"/>
            <a:chExt cx="629342" cy="358441"/>
          </a:xfrm>
        </p:grpSpPr>
        <p:sp>
          <p:nvSpPr>
            <p:cNvPr id="50" name="btfpHBCheckCross980919">
              <a:extLst>
                <a:ext uri="{FF2B5EF4-FFF2-40B4-BE49-F238E27FC236}">
                  <a16:creationId xmlns:a16="http://schemas.microsoft.com/office/drawing/2014/main" id="{5A8E5F3A-0F77-D7C2-F071-5B7C2CE71D0E}"/>
                </a:ext>
              </a:extLst>
            </p:cNvPr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gray">
            <a:xfrm>
              <a:off x="10286192" y="2040576"/>
              <a:ext cx="358441" cy="358441"/>
            </a:xfrm>
            <a:prstGeom prst="rect">
              <a:avLst/>
            </a:prstGeom>
            <a:blipFill>
              <a:blip r:embed="rId28"/>
              <a:stretch>
                <a:fillRect/>
              </a:stretch>
            </a:blip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51" name="btfpHBCheckCross980919">
              <a:extLst>
                <a:ext uri="{FF2B5EF4-FFF2-40B4-BE49-F238E27FC236}">
                  <a16:creationId xmlns:a16="http://schemas.microsoft.com/office/drawing/2014/main" id="{A8595395-031C-F42E-7BE6-06B4A24F3D6F}"/>
                </a:ext>
              </a:extLst>
            </p:cNvPr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gray">
            <a:xfrm>
              <a:off x="10557093" y="2040576"/>
              <a:ext cx="358441" cy="358441"/>
            </a:xfrm>
            <a:prstGeom prst="rect">
              <a:avLst/>
            </a:prstGeom>
            <a:blipFill>
              <a:blip r:embed="rId28"/>
              <a:stretch>
                <a:fillRect/>
              </a:stretch>
            </a:blip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8E38A85A-A2C3-B90D-215B-B5F7E6F52CB1}"/>
              </a:ext>
            </a:extLst>
          </p:cNvPr>
          <p:cNvSpPr txBox="1"/>
          <p:nvPr/>
        </p:nvSpPr>
        <p:spPr bwMode="gray">
          <a:xfrm>
            <a:off x="4927600" y="1919049"/>
            <a:ext cx="44123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it-IT" sz="1200" b="1" dirty="0"/>
              <a:t>Offerta di corsi più ampia </a:t>
            </a:r>
            <a:r>
              <a:rPr lang="it-IT" sz="1200" dirty="0"/>
              <a:t>tra i vari tipi di laurea, con circa </a:t>
            </a:r>
            <a:r>
              <a:rPr lang="it-IT" sz="1200" b="1" dirty="0"/>
              <a:t>40 corsi </a:t>
            </a:r>
            <a:r>
              <a:rPr lang="it-IT" sz="1200" dirty="0"/>
              <a:t>offerti a livello di gruppo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38CBC6A-C192-BABA-0588-C12EBF23C7F5}"/>
              </a:ext>
            </a:extLst>
          </p:cNvPr>
          <p:cNvSpPr txBox="1"/>
          <p:nvPr/>
        </p:nvSpPr>
        <p:spPr bwMode="gray">
          <a:xfrm>
            <a:off x="4927600" y="2636339"/>
            <a:ext cx="44123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it-IT" sz="1200" b="1" dirty="0"/>
              <a:t>Piattaforma proprietaria best-in-class </a:t>
            </a:r>
            <a:r>
              <a:rPr lang="it-IT" sz="1200" dirty="0"/>
              <a:t>che permette un'esperienza studentesca di alto livello con classi registrate al 100% su video, simulazioni di esame, tutor virtuali ecc.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DE4C85C-78EA-4402-38A4-ACB2AD1C185B}"/>
              </a:ext>
            </a:extLst>
          </p:cNvPr>
          <p:cNvSpPr txBox="1"/>
          <p:nvPr/>
        </p:nvSpPr>
        <p:spPr bwMode="gray">
          <a:xfrm>
            <a:off x="4927599" y="3437263"/>
            <a:ext cx="441234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it-IT" sz="1200" b="1" dirty="0"/>
              <a:t>Massima flessibilità </a:t>
            </a:r>
            <a:r>
              <a:rPr lang="it-IT" sz="1200" dirty="0"/>
              <a:t>grazie a un </a:t>
            </a:r>
            <a:r>
              <a:rPr lang="it-IT" sz="1200" b="1" dirty="0"/>
              <a:t>maggior numero di date d'esame</a:t>
            </a:r>
            <a:r>
              <a:rPr lang="it-IT" sz="1200" dirty="0"/>
              <a:t>, ~12x vs. 4-7x le altre università online concorrenti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FE7B9FB-2D91-8D98-EB83-8DCEED303635}"/>
              </a:ext>
            </a:extLst>
          </p:cNvPr>
          <p:cNvSpPr txBox="1"/>
          <p:nvPr/>
        </p:nvSpPr>
        <p:spPr bwMode="gray">
          <a:xfrm>
            <a:off x="4942110" y="4133259"/>
            <a:ext cx="44123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it-IT" sz="1200" b="1" dirty="0"/>
              <a:t>Unica rete di orientamento </a:t>
            </a:r>
            <a:r>
              <a:rPr lang="it-IT" sz="1200" dirty="0"/>
              <a:t>che combina un canale diretto centrale con 100+ dipendenti e una vasta rete di ~1.000 poli territoriali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5F4883A-51B4-FC08-2BBB-607B92EC6B5A}"/>
              </a:ext>
            </a:extLst>
          </p:cNvPr>
          <p:cNvSpPr txBox="1"/>
          <p:nvPr/>
        </p:nvSpPr>
        <p:spPr bwMode="gray">
          <a:xfrm>
            <a:off x="4951635" y="4864380"/>
            <a:ext cx="44123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it-IT" sz="1200" b="1" dirty="0"/>
              <a:t>Strategia di marketing data-</a:t>
            </a:r>
            <a:r>
              <a:rPr lang="it-IT" sz="1200" b="1" dirty="0" err="1"/>
              <a:t>driven</a:t>
            </a:r>
            <a:r>
              <a:rPr lang="it-IT" sz="1200" b="1" dirty="0"/>
              <a:t> </a:t>
            </a:r>
            <a:r>
              <a:rPr lang="it-IT" sz="1200" dirty="0"/>
              <a:t>che ha portato a un aumento di &gt;50% dei nuovi potenziali clienti, riducendo contemporaneamente le spese di marketing del 9%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0929173-58BF-0857-0BA9-6CE9740A5CD3}"/>
              </a:ext>
            </a:extLst>
          </p:cNvPr>
          <p:cNvSpPr txBox="1"/>
          <p:nvPr/>
        </p:nvSpPr>
        <p:spPr bwMode="gray">
          <a:xfrm>
            <a:off x="4951635" y="5578179"/>
            <a:ext cx="438830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it-IT" sz="1200" b="1" dirty="0"/>
              <a:t>Tariffe di iscrizione inferiori rispetto alla media del settore</a:t>
            </a:r>
            <a:r>
              <a:rPr lang="it-IT" sz="1200" dirty="0"/>
              <a:t>, sfruttando anche 1000+ accordi commerciali con istituzioni e aziende italiane di primo piano, che si traduce in una riduzione media delle tariffe fino al 40%</a:t>
            </a:r>
          </a:p>
        </p:txBody>
      </p: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FB125892-CB9F-6914-29E6-648ABDBDDFC0}"/>
              </a:ext>
            </a:extLst>
          </p:cNvPr>
          <p:cNvGrpSpPr/>
          <p:nvPr/>
        </p:nvGrpSpPr>
        <p:grpSpPr>
          <a:xfrm>
            <a:off x="10328265" y="4271055"/>
            <a:ext cx="629342" cy="358441"/>
            <a:chOff x="10286192" y="2040576"/>
            <a:chExt cx="629342" cy="358441"/>
          </a:xfrm>
        </p:grpSpPr>
        <p:sp>
          <p:nvSpPr>
            <p:cNvPr id="129" name="btfpHBCheckCross980919">
              <a:extLst>
                <a:ext uri="{FF2B5EF4-FFF2-40B4-BE49-F238E27FC236}">
                  <a16:creationId xmlns:a16="http://schemas.microsoft.com/office/drawing/2014/main" id="{7B3B3D9E-FAB8-91F6-D491-79064E626ADE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gray">
            <a:xfrm>
              <a:off x="10286192" y="2040576"/>
              <a:ext cx="358441" cy="358441"/>
            </a:xfrm>
            <a:prstGeom prst="rect">
              <a:avLst/>
            </a:prstGeom>
            <a:blipFill>
              <a:blip r:embed="rId28"/>
              <a:stretch>
                <a:fillRect/>
              </a:stretch>
            </a:blip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30" name="btfpHBCheckCross980919">
              <a:extLst>
                <a:ext uri="{FF2B5EF4-FFF2-40B4-BE49-F238E27FC236}">
                  <a16:creationId xmlns:a16="http://schemas.microsoft.com/office/drawing/2014/main" id="{4131C1BF-691E-B548-2FC0-6609C80F4E76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gray">
            <a:xfrm>
              <a:off x="10557093" y="2040576"/>
              <a:ext cx="358441" cy="358441"/>
            </a:xfrm>
            <a:prstGeom prst="rect">
              <a:avLst/>
            </a:prstGeom>
            <a:blipFill>
              <a:blip r:embed="rId28"/>
              <a:stretch>
                <a:fillRect/>
              </a:stretch>
            </a:blip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E2770DE3-D067-46F5-1080-60AB7C597987}"/>
              </a:ext>
            </a:extLst>
          </p:cNvPr>
          <p:cNvGrpSpPr/>
          <p:nvPr/>
        </p:nvGrpSpPr>
        <p:grpSpPr>
          <a:xfrm>
            <a:off x="10328265" y="5021911"/>
            <a:ext cx="629342" cy="358441"/>
            <a:chOff x="10286192" y="2040576"/>
            <a:chExt cx="629342" cy="358441"/>
          </a:xfrm>
        </p:grpSpPr>
        <p:sp>
          <p:nvSpPr>
            <p:cNvPr id="132" name="btfpHBCheckCross980919">
              <a:extLst>
                <a:ext uri="{FF2B5EF4-FFF2-40B4-BE49-F238E27FC236}">
                  <a16:creationId xmlns:a16="http://schemas.microsoft.com/office/drawing/2014/main" id="{226F4D34-C0FD-CBE1-C097-BD43E0537DE3}"/>
                </a:ext>
              </a:extLst>
            </p:cNvPr>
            <p:cNvSpPr>
              <a:spLocks noChangeAspect="1"/>
            </p:cNvSpPr>
            <p:nvPr>
              <p:custDataLst>
                <p:tags r:id="rId18"/>
              </p:custDataLst>
            </p:nvPr>
          </p:nvSpPr>
          <p:spPr bwMode="gray">
            <a:xfrm>
              <a:off x="10286192" y="2040576"/>
              <a:ext cx="358441" cy="358441"/>
            </a:xfrm>
            <a:prstGeom prst="rect">
              <a:avLst/>
            </a:prstGeom>
            <a:blipFill>
              <a:blip r:embed="rId28"/>
              <a:stretch>
                <a:fillRect/>
              </a:stretch>
            </a:blip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33" name="btfpHBCheckCross980919">
              <a:extLst>
                <a:ext uri="{FF2B5EF4-FFF2-40B4-BE49-F238E27FC236}">
                  <a16:creationId xmlns:a16="http://schemas.microsoft.com/office/drawing/2014/main" id="{46795FC3-6AF7-9F54-E980-F5D192EFF7FC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gray">
            <a:xfrm>
              <a:off x="10557093" y="2040576"/>
              <a:ext cx="358441" cy="358441"/>
            </a:xfrm>
            <a:prstGeom prst="rect">
              <a:avLst/>
            </a:prstGeom>
            <a:blipFill>
              <a:blip r:embed="rId28"/>
              <a:stretch>
                <a:fillRect/>
              </a:stretch>
            </a:blip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9B74CAA2-1E87-DEFA-AF33-B401DC4588B2}"/>
              </a:ext>
            </a:extLst>
          </p:cNvPr>
          <p:cNvGrpSpPr/>
          <p:nvPr/>
        </p:nvGrpSpPr>
        <p:grpSpPr>
          <a:xfrm>
            <a:off x="10328265" y="5804182"/>
            <a:ext cx="629342" cy="358441"/>
            <a:chOff x="10286192" y="2040576"/>
            <a:chExt cx="629342" cy="358441"/>
          </a:xfrm>
        </p:grpSpPr>
        <p:sp>
          <p:nvSpPr>
            <p:cNvPr id="135" name="btfpHBCheckCross980919">
              <a:extLst>
                <a:ext uri="{FF2B5EF4-FFF2-40B4-BE49-F238E27FC236}">
                  <a16:creationId xmlns:a16="http://schemas.microsoft.com/office/drawing/2014/main" id="{7FB0727F-DF4E-DBE2-51AE-695BE2FC3A54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gray">
            <a:xfrm>
              <a:off x="10286192" y="2040576"/>
              <a:ext cx="358441" cy="358441"/>
            </a:xfrm>
            <a:prstGeom prst="rect">
              <a:avLst/>
            </a:prstGeom>
            <a:blipFill>
              <a:blip r:embed="rId28"/>
              <a:stretch>
                <a:fillRect/>
              </a:stretch>
            </a:blip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36" name="btfpHBCheckCross980919">
              <a:extLst>
                <a:ext uri="{FF2B5EF4-FFF2-40B4-BE49-F238E27FC236}">
                  <a16:creationId xmlns:a16="http://schemas.microsoft.com/office/drawing/2014/main" id="{B9ECAC3C-6F4E-4070-F9D7-A3EC0D1DB730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gray">
            <a:xfrm>
              <a:off x="10557093" y="2040576"/>
              <a:ext cx="358441" cy="358441"/>
            </a:xfrm>
            <a:prstGeom prst="rect">
              <a:avLst/>
            </a:prstGeom>
            <a:blipFill>
              <a:blip r:embed="rId28"/>
              <a:stretch>
                <a:fillRect/>
              </a:stretch>
            </a:blip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37" name="btfpHBCheckCross980919">
            <a:extLst>
              <a:ext uri="{FF2B5EF4-FFF2-40B4-BE49-F238E27FC236}">
                <a16:creationId xmlns:a16="http://schemas.microsoft.com/office/drawing/2014/main" id="{ACDD03DF-189C-08B2-F084-29134FF6B990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gray">
          <a:xfrm>
            <a:off x="10465412" y="3516806"/>
            <a:ext cx="358441" cy="358441"/>
          </a:xfrm>
          <a:prstGeom prst="rect">
            <a:avLst/>
          </a:prstGeom>
          <a:blipFill>
            <a:blip r:embed="rId2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427BE615-8660-1CD7-5C3F-5F973282E592}"/>
              </a:ext>
            </a:extLst>
          </p:cNvPr>
          <p:cNvSpPr/>
          <p:nvPr/>
        </p:nvSpPr>
        <p:spPr bwMode="gray">
          <a:xfrm>
            <a:off x="8645093" y="944429"/>
            <a:ext cx="3211945" cy="30684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85858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it-IT" sz="1600" dirty="0" err="1">
              <a:solidFill>
                <a:schemeClr val="tx1"/>
              </a:solidFill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BC40B21E-9292-84F8-03C8-7E1D3E81F523}"/>
              </a:ext>
            </a:extLst>
          </p:cNvPr>
          <p:cNvSpPr txBox="1"/>
          <p:nvPr/>
        </p:nvSpPr>
        <p:spPr bwMode="gray">
          <a:xfrm>
            <a:off x="8043600" y="981658"/>
            <a:ext cx="655029" cy="255359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it-IT" sz="1100" b="1" i="1" dirty="0">
                <a:solidFill>
                  <a:srgbClr val="333333"/>
                </a:solidFill>
              </a:rPr>
              <a:t>Legenda</a:t>
            </a:r>
          </a:p>
        </p:txBody>
      </p: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BAB37FD1-3226-70F6-BE0A-54DA63466BE9}"/>
              </a:ext>
            </a:extLst>
          </p:cNvPr>
          <p:cNvGrpSpPr/>
          <p:nvPr/>
        </p:nvGrpSpPr>
        <p:grpSpPr>
          <a:xfrm>
            <a:off x="8700254" y="988111"/>
            <a:ext cx="373807" cy="219480"/>
            <a:chOff x="10286192" y="2040576"/>
            <a:chExt cx="629342" cy="358441"/>
          </a:xfrm>
        </p:grpSpPr>
        <p:sp>
          <p:nvSpPr>
            <p:cNvPr id="142" name="btfpHBCheckCross980919">
              <a:extLst>
                <a:ext uri="{FF2B5EF4-FFF2-40B4-BE49-F238E27FC236}">
                  <a16:creationId xmlns:a16="http://schemas.microsoft.com/office/drawing/2014/main" id="{A8C21D6A-FA8A-53AB-3ED6-146607361575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gray">
            <a:xfrm>
              <a:off x="10286192" y="2040576"/>
              <a:ext cx="358441" cy="358441"/>
            </a:xfrm>
            <a:prstGeom prst="rect">
              <a:avLst/>
            </a:prstGeom>
            <a:blipFill>
              <a:blip r:embed="rId28"/>
              <a:stretch>
                <a:fillRect/>
              </a:stretch>
            </a:blip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43" name="btfpHBCheckCross980919">
              <a:extLst>
                <a:ext uri="{FF2B5EF4-FFF2-40B4-BE49-F238E27FC236}">
                  <a16:creationId xmlns:a16="http://schemas.microsoft.com/office/drawing/2014/main" id="{49D612D8-FCAB-69A4-065F-46D09EBDE2AB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gray">
            <a:xfrm>
              <a:off x="10557093" y="2040576"/>
              <a:ext cx="358441" cy="358441"/>
            </a:xfrm>
            <a:prstGeom prst="rect">
              <a:avLst/>
            </a:prstGeom>
            <a:blipFill>
              <a:blip r:embed="rId28"/>
              <a:stretch>
                <a:fillRect/>
              </a:stretch>
            </a:blip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44" name="btfpHBCheckCross980919">
            <a:extLst>
              <a:ext uri="{FF2B5EF4-FFF2-40B4-BE49-F238E27FC236}">
                <a16:creationId xmlns:a16="http://schemas.microsoft.com/office/drawing/2014/main" id="{C523A822-FD42-42AB-1610-DECEBEFA0460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gray">
          <a:xfrm>
            <a:off x="9826345" y="983693"/>
            <a:ext cx="228316" cy="228316"/>
          </a:xfrm>
          <a:prstGeom prst="rect">
            <a:avLst/>
          </a:prstGeom>
          <a:blipFill>
            <a:blip r:embed="rId2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5" name="btfpHBCheckCross980919">
            <a:extLst>
              <a:ext uri="{FF2B5EF4-FFF2-40B4-BE49-F238E27FC236}">
                <a16:creationId xmlns:a16="http://schemas.microsoft.com/office/drawing/2014/main" id="{5C6BE08C-C7A1-368A-D640-F20D0A4379EB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 bwMode="gray">
          <a:xfrm>
            <a:off x="10964823" y="978834"/>
            <a:ext cx="238035" cy="238035"/>
          </a:xfrm>
          <a:prstGeom prst="rect">
            <a:avLst/>
          </a:prstGeom>
          <a:blipFill>
            <a:blip r:embed="rId30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E6AA4F98-0F1F-853F-7C44-07C24BF02814}"/>
              </a:ext>
            </a:extLst>
          </p:cNvPr>
          <p:cNvSpPr txBox="1"/>
          <p:nvPr/>
        </p:nvSpPr>
        <p:spPr bwMode="gray">
          <a:xfrm>
            <a:off x="9041521" y="984556"/>
            <a:ext cx="93345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it-IT" sz="1000" dirty="0"/>
              <a:t>Best-in-class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D65E22B6-D798-E183-5D6A-3190C50292F7}"/>
              </a:ext>
            </a:extLst>
          </p:cNvPr>
          <p:cNvSpPr txBox="1"/>
          <p:nvPr/>
        </p:nvSpPr>
        <p:spPr bwMode="gray">
          <a:xfrm>
            <a:off x="10030157" y="984556"/>
            <a:ext cx="93345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it-IT" sz="1000" dirty="0"/>
              <a:t>Sopra media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055BACA1-85D5-16C8-E9C6-E69993D2E97C}"/>
              </a:ext>
            </a:extLst>
          </p:cNvPr>
          <p:cNvSpPr txBox="1"/>
          <p:nvPr/>
        </p:nvSpPr>
        <p:spPr bwMode="gray">
          <a:xfrm>
            <a:off x="11213016" y="984556"/>
            <a:ext cx="591335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it-IT" sz="1000" dirty="0"/>
              <a:t>In media</a:t>
            </a:r>
          </a:p>
        </p:txBody>
      </p:sp>
      <p:sp>
        <p:nvSpPr>
          <p:cNvPr id="77" name="btfpHBCheckCross980919">
            <a:extLst>
              <a:ext uri="{FF2B5EF4-FFF2-40B4-BE49-F238E27FC236}">
                <a16:creationId xmlns:a16="http://schemas.microsoft.com/office/drawing/2014/main" id="{4B0C2C59-AD9E-429A-8321-376DED0882DF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 bwMode="gray">
          <a:xfrm>
            <a:off x="10465412" y="2794430"/>
            <a:ext cx="358441" cy="358441"/>
          </a:xfrm>
          <a:prstGeom prst="rect">
            <a:avLst/>
          </a:prstGeom>
          <a:blipFill>
            <a:blip r:embed="rId29"/>
            <a:stretch>
              <a:fillRect/>
            </a:stretch>
          </a:blip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 dirty="0" err="1">
              <a:solidFill>
                <a:schemeClr val="tx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08693274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3C896025-4B90-C558-3939-B7379F79DE4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807476">
              <a:extLst>
                <a:ext uri="{FF2B5EF4-FFF2-40B4-BE49-F238E27FC236}">
                  <a16:creationId xmlns:a16="http://schemas.microsoft.com/office/drawing/2014/main" id="{F2504EF4-1A6B-1C93-7869-951D005BFDFA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399523">
              <a:extLst>
                <a:ext uri="{FF2B5EF4-FFF2-40B4-BE49-F238E27FC236}">
                  <a16:creationId xmlns:a16="http://schemas.microsoft.com/office/drawing/2014/main" id="{FAA7771F-5297-FD07-603C-C846784F508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968285">
              <a:extLst>
                <a:ext uri="{FF2B5EF4-FFF2-40B4-BE49-F238E27FC236}">
                  <a16:creationId xmlns:a16="http://schemas.microsoft.com/office/drawing/2014/main" id="{E90F2F62-21E9-D57D-B99A-45230EFF9A3B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743969">
              <a:extLst>
                <a:ext uri="{FF2B5EF4-FFF2-40B4-BE49-F238E27FC236}">
                  <a16:creationId xmlns:a16="http://schemas.microsoft.com/office/drawing/2014/main" id="{5D2B9213-D191-0129-107B-B838852E392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CF3972C7-6D45-28F6-82AE-62898154B1F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533557">
              <a:extLst>
                <a:ext uri="{FF2B5EF4-FFF2-40B4-BE49-F238E27FC236}">
                  <a16:creationId xmlns:a16="http://schemas.microsoft.com/office/drawing/2014/main" id="{F325574C-B947-7BF0-EF92-B9F8894E8E6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706763">
              <a:extLst>
                <a:ext uri="{FF2B5EF4-FFF2-40B4-BE49-F238E27FC236}">
                  <a16:creationId xmlns:a16="http://schemas.microsoft.com/office/drawing/2014/main" id="{96AE06BD-B803-F0DC-9A70-A0A5A402BF32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343894">
              <a:extLst>
                <a:ext uri="{FF2B5EF4-FFF2-40B4-BE49-F238E27FC236}">
                  <a16:creationId xmlns:a16="http://schemas.microsoft.com/office/drawing/2014/main" id="{E9586AD1-E241-8846-2B11-6245D495B87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505101">
              <a:extLst>
                <a:ext uri="{FF2B5EF4-FFF2-40B4-BE49-F238E27FC236}">
                  <a16:creationId xmlns:a16="http://schemas.microsoft.com/office/drawing/2014/main" id="{BE843D66-1A01-9F5F-115D-359F2BDD4290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A4FC8D8F-1617-4B0F-B608-D88591E3A5F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562511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Diapositiva think-cell" r:id="rId13" imgW="592" imgH="595" progId="TCLayout.ActiveDocument.1">
                  <p:embed/>
                </p:oleObj>
              </mc:Choice>
              <mc:Fallback>
                <p:oleObj name="Diapositiva think-cell" r:id="rId13" imgW="592" imgH="595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A4FC8D8F-1617-4B0F-B608-D88591E3A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4EC23B-D565-4845-A6C4-AF818A9A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sz="2133" dirty="0"/>
              <a:t>Con circa il 90% di recensioni positive su </a:t>
            </a:r>
            <a:r>
              <a:rPr lang="it-IT" sz="2133" dirty="0" err="1"/>
              <a:t>Trustpilot</a:t>
            </a:r>
            <a:r>
              <a:rPr lang="it-IT" sz="2133" dirty="0"/>
              <a:t>, Pegaso e </a:t>
            </a:r>
            <a:r>
              <a:rPr lang="it-IT" sz="2133" dirty="0" err="1"/>
              <a:t>Mercatorum</a:t>
            </a:r>
            <a:r>
              <a:rPr lang="it-IT" sz="2133" dirty="0"/>
              <a:t> si distinguono dalle altre università online italiane</a:t>
            </a:r>
          </a:p>
        </p:txBody>
      </p:sp>
      <p:sp>
        <p:nvSpPr>
          <p:cNvPr id="155" name="btfpNotesBox878651">
            <a:extLst>
              <a:ext uri="{FF2B5EF4-FFF2-40B4-BE49-F238E27FC236}">
                <a16:creationId xmlns:a16="http://schemas.microsoft.com/office/drawing/2014/main" id="{85824BD9-0F6C-4834-85B7-3E99D572247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1660019" y="6603856"/>
            <a:ext cx="9978593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kumimoji="0" lang="it-IT" sz="8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Source: </a:t>
            </a:r>
            <a:r>
              <a:rPr kumimoji="0" lang="it-IT" sz="800" b="0" i="0" u="none" strike="noStrike" kern="120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Trustpilot</a:t>
            </a:r>
            <a:r>
              <a:rPr kumimoji="0" lang="it-IT" sz="8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, Interviste agli studenti - punti di forza principali basati sui commenti delle recensioni con un punteggio superiore a 3 nel 2023 per Pegaso e </a:t>
            </a:r>
            <a:r>
              <a:rPr kumimoji="0" lang="it-IT" sz="800" b="0" i="0" u="none" strike="noStrike" kern="120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Mercatorum</a:t>
            </a:r>
            <a:r>
              <a:rPr kumimoji="0" lang="it-IT" sz="8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su </a:t>
            </a:r>
            <a:r>
              <a:rPr kumimoji="0" lang="it-IT" sz="800" b="0" i="0" u="none" strike="noStrike" kern="1200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Trustpilot</a:t>
            </a:r>
            <a:r>
              <a:rPr kumimoji="0" lang="it-IT" sz="8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(320)</a:t>
            </a:r>
            <a:endParaRPr lang="it-IT" sz="800" dirty="0">
              <a:solidFill>
                <a:srgbClr val="000000"/>
              </a:solidFill>
            </a:endParaRPr>
          </a:p>
        </p:txBody>
      </p:sp>
      <p:grpSp>
        <p:nvGrpSpPr>
          <p:cNvPr id="21" name="btfpRunningAgenda2Level587740">
            <a:extLst>
              <a:ext uri="{FF2B5EF4-FFF2-40B4-BE49-F238E27FC236}">
                <a16:creationId xmlns:a16="http://schemas.microsoft.com/office/drawing/2014/main" id="{15ADD95B-B105-8C6A-7B98-BD29D31876DE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-1" y="944429"/>
            <a:ext cx="5166357" cy="257442"/>
            <a:chOff x="-1" y="876300"/>
            <a:chExt cx="5426418" cy="257442"/>
          </a:xfrm>
        </p:grpSpPr>
        <p:sp>
          <p:nvSpPr>
            <p:cNvPr id="22" name="btfpRunningAgenda2LevelBarLeft587740">
              <a:extLst>
                <a:ext uri="{FF2B5EF4-FFF2-40B4-BE49-F238E27FC236}">
                  <a16:creationId xmlns:a16="http://schemas.microsoft.com/office/drawing/2014/main" id="{108F4DC0-D5BD-889C-BE38-E646C05C8B52}"/>
                </a:ext>
              </a:extLst>
            </p:cNvPr>
            <p:cNvSpPr/>
            <p:nvPr/>
          </p:nvSpPr>
          <p:spPr bwMode="gray">
            <a:xfrm>
              <a:off x="-1" y="876300"/>
              <a:ext cx="4289857" cy="257442"/>
            </a:xfrm>
            <a:custGeom>
              <a:avLst/>
              <a:gdLst>
                <a:gd name="connsiteX0" fmla="*/ 950801 w 3573314"/>
                <a:gd name="connsiteY0" fmla="*/ 0 h 257442"/>
                <a:gd name="connsiteX1" fmla="*/ 3573314 w 3573314"/>
                <a:gd name="connsiteY1" fmla="*/ 0 h 257442"/>
                <a:gd name="connsiteX2" fmla="*/ 3518593 w 3573314"/>
                <a:gd name="connsiteY2" fmla="*/ 257442 h 257442"/>
                <a:gd name="connsiteX3" fmla="*/ 0 w 3573314"/>
                <a:gd name="connsiteY3" fmla="*/ 257442 h 257442"/>
                <a:gd name="connsiteX0" fmla="*/ 950801 w 3518593"/>
                <a:gd name="connsiteY0" fmla="*/ 0 h 257442"/>
                <a:gd name="connsiteX1" fmla="*/ 896080 w 3518593"/>
                <a:gd name="connsiteY1" fmla="*/ 257442 h 257442"/>
                <a:gd name="connsiteX2" fmla="*/ 3518593 w 3518593"/>
                <a:gd name="connsiteY2" fmla="*/ 257442 h 257442"/>
                <a:gd name="connsiteX3" fmla="*/ 0 w 3518593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20106 w 1220106"/>
                <a:gd name="connsiteY0" fmla="*/ 0 h 257442"/>
                <a:gd name="connsiteX1" fmla="*/ 1064395 w 1220106"/>
                <a:gd name="connsiteY1" fmla="*/ 257442 h 257442"/>
                <a:gd name="connsiteX2" fmla="*/ 0 w 1220106"/>
                <a:gd name="connsiteY2" fmla="*/ 257442 h 257442"/>
                <a:gd name="connsiteX3" fmla="*/ 0 w 1220106"/>
                <a:gd name="connsiteY3" fmla="*/ 0 h 257442"/>
                <a:gd name="connsiteX0" fmla="*/ 1220106 w 1220106"/>
                <a:gd name="connsiteY0" fmla="*/ 0 h 257442"/>
                <a:gd name="connsiteX1" fmla="*/ 1165385 w 1220106"/>
                <a:gd name="connsiteY1" fmla="*/ 257442 h 257442"/>
                <a:gd name="connsiteX2" fmla="*/ 0 w 1220106"/>
                <a:gd name="connsiteY2" fmla="*/ 257442 h 257442"/>
                <a:gd name="connsiteX3" fmla="*/ 0 w 1220106"/>
                <a:gd name="connsiteY3" fmla="*/ 0 h 257442"/>
                <a:gd name="connsiteX0" fmla="*/ 1220106 w 1220106"/>
                <a:gd name="connsiteY0" fmla="*/ 0 h 257442"/>
                <a:gd name="connsiteX1" fmla="*/ 1165385 w 1220106"/>
                <a:gd name="connsiteY1" fmla="*/ 257442 h 257442"/>
                <a:gd name="connsiteX2" fmla="*/ 0 w 1220106"/>
                <a:gd name="connsiteY2" fmla="*/ 257442 h 257442"/>
                <a:gd name="connsiteX3" fmla="*/ 0 w 1220106"/>
                <a:gd name="connsiteY3" fmla="*/ 0 h 257442"/>
                <a:gd name="connsiteX0" fmla="*/ 1220106 w 1220106"/>
                <a:gd name="connsiteY0" fmla="*/ 0 h 257442"/>
                <a:gd name="connsiteX1" fmla="*/ 1165385 w 1220106"/>
                <a:gd name="connsiteY1" fmla="*/ 257442 h 257442"/>
                <a:gd name="connsiteX2" fmla="*/ 0 w 1220106"/>
                <a:gd name="connsiteY2" fmla="*/ 257442 h 257442"/>
                <a:gd name="connsiteX3" fmla="*/ 0 w 1220106"/>
                <a:gd name="connsiteY3" fmla="*/ 0 h 257442"/>
                <a:gd name="connsiteX0" fmla="*/ 1380406 w 1380406"/>
                <a:gd name="connsiteY0" fmla="*/ 0 h 257442"/>
                <a:gd name="connsiteX1" fmla="*/ 11653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540706 w 1540706"/>
                <a:gd name="connsiteY0" fmla="*/ 0 h 257442"/>
                <a:gd name="connsiteX1" fmla="*/ 13256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709021 w 1709021"/>
                <a:gd name="connsiteY0" fmla="*/ 0 h 257442"/>
                <a:gd name="connsiteX1" fmla="*/ 1485985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869321 w 1869321"/>
                <a:gd name="connsiteY0" fmla="*/ 0 h 257442"/>
                <a:gd name="connsiteX1" fmla="*/ 16543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970311 w 1970311"/>
                <a:gd name="connsiteY0" fmla="*/ 0 h 257442"/>
                <a:gd name="connsiteX1" fmla="*/ 1814600 w 1970311"/>
                <a:gd name="connsiteY1" fmla="*/ 257442 h 257442"/>
                <a:gd name="connsiteX2" fmla="*/ 0 w 1970311"/>
                <a:gd name="connsiteY2" fmla="*/ 257442 h 257442"/>
                <a:gd name="connsiteX3" fmla="*/ 0 w 1970311"/>
                <a:gd name="connsiteY3" fmla="*/ 0 h 257442"/>
                <a:gd name="connsiteX0" fmla="*/ 1970311 w 1970311"/>
                <a:gd name="connsiteY0" fmla="*/ 0 h 257442"/>
                <a:gd name="connsiteX1" fmla="*/ 1915590 w 1970311"/>
                <a:gd name="connsiteY1" fmla="*/ 257442 h 257442"/>
                <a:gd name="connsiteX2" fmla="*/ 0 w 1970311"/>
                <a:gd name="connsiteY2" fmla="*/ 257442 h 257442"/>
                <a:gd name="connsiteX3" fmla="*/ 0 w 1970311"/>
                <a:gd name="connsiteY3" fmla="*/ 0 h 257442"/>
                <a:gd name="connsiteX0" fmla="*/ 1970311 w 1970311"/>
                <a:gd name="connsiteY0" fmla="*/ 0 h 257442"/>
                <a:gd name="connsiteX1" fmla="*/ 1915590 w 1970311"/>
                <a:gd name="connsiteY1" fmla="*/ 257442 h 257442"/>
                <a:gd name="connsiteX2" fmla="*/ 0 w 1970311"/>
                <a:gd name="connsiteY2" fmla="*/ 257442 h 257442"/>
                <a:gd name="connsiteX3" fmla="*/ 0 w 1970311"/>
                <a:gd name="connsiteY3" fmla="*/ 0 h 257442"/>
                <a:gd name="connsiteX0" fmla="*/ 1970311 w 1970311"/>
                <a:gd name="connsiteY0" fmla="*/ 0 h 257442"/>
                <a:gd name="connsiteX1" fmla="*/ 1915590 w 1970311"/>
                <a:gd name="connsiteY1" fmla="*/ 257442 h 257442"/>
                <a:gd name="connsiteX2" fmla="*/ 0 w 1970311"/>
                <a:gd name="connsiteY2" fmla="*/ 257442 h 257442"/>
                <a:gd name="connsiteX3" fmla="*/ 0 w 1970311"/>
                <a:gd name="connsiteY3" fmla="*/ 0 h 257442"/>
                <a:gd name="connsiteX0" fmla="*/ 2122596 w 2122596"/>
                <a:gd name="connsiteY0" fmla="*/ 0 h 257442"/>
                <a:gd name="connsiteX1" fmla="*/ 1915590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290913 w 2290913"/>
                <a:gd name="connsiteY0" fmla="*/ 0 h 257442"/>
                <a:gd name="connsiteX1" fmla="*/ 2067875 w 2290913"/>
                <a:gd name="connsiteY1" fmla="*/ 257442 h 257442"/>
                <a:gd name="connsiteX2" fmla="*/ 0 w 2290913"/>
                <a:gd name="connsiteY2" fmla="*/ 257442 h 257442"/>
                <a:gd name="connsiteX3" fmla="*/ 1 w 2290913"/>
                <a:gd name="connsiteY3" fmla="*/ 0 h 257442"/>
                <a:gd name="connsiteX0" fmla="*/ 2290913 w 2290913"/>
                <a:gd name="connsiteY0" fmla="*/ 0 h 257442"/>
                <a:gd name="connsiteX1" fmla="*/ 2236192 w 2290913"/>
                <a:gd name="connsiteY1" fmla="*/ 257442 h 257442"/>
                <a:gd name="connsiteX2" fmla="*/ 0 w 2290913"/>
                <a:gd name="connsiteY2" fmla="*/ 257442 h 257442"/>
                <a:gd name="connsiteX3" fmla="*/ 1 w 2290913"/>
                <a:gd name="connsiteY3" fmla="*/ 0 h 257442"/>
                <a:gd name="connsiteX0" fmla="*/ 2290912 w 2290912"/>
                <a:gd name="connsiteY0" fmla="*/ 0 h 257442"/>
                <a:gd name="connsiteX1" fmla="*/ 2236191 w 2290912"/>
                <a:gd name="connsiteY1" fmla="*/ 257442 h 257442"/>
                <a:gd name="connsiteX2" fmla="*/ 0 w 2290912"/>
                <a:gd name="connsiteY2" fmla="*/ 257442 h 257442"/>
                <a:gd name="connsiteX3" fmla="*/ 0 w 2290912"/>
                <a:gd name="connsiteY3" fmla="*/ 0 h 257442"/>
                <a:gd name="connsiteX0" fmla="*/ 2290913 w 2290913"/>
                <a:gd name="connsiteY0" fmla="*/ 0 h 257442"/>
                <a:gd name="connsiteX1" fmla="*/ 2236192 w 2290913"/>
                <a:gd name="connsiteY1" fmla="*/ 257442 h 257442"/>
                <a:gd name="connsiteX2" fmla="*/ 1 w 2290913"/>
                <a:gd name="connsiteY2" fmla="*/ 257442 h 257442"/>
                <a:gd name="connsiteX3" fmla="*/ 0 w 2290913"/>
                <a:gd name="connsiteY3" fmla="*/ 0 h 257442"/>
                <a:gd name="connsiteX0" fmla="*/ 2391901 w 2391901"/>
                <a:gd name="connsiteY0" fmla="*/ 0 h 257442"/>
                <a:gd name="connsiteX1" fmla="*/ 2236192 w 2391901"/>
                <a:gd name="connsiteY1" fmla="*/ 257442 h 257442"/>
                <a:gd name="connsiteX2" fmla="*/ 1 w 2391901"/>
                <a:gd name="connsiteY2" fmla="*/ 257442 h 257442"/>
                <a:gd name="connsiteX3" fmla="*/ 0 w 2391901"/>
                <a:gd name="connsiteY3" fmla="*/ 0 h 257442"/>
                <a:gd name="connsiteX0" fmla="*/ 2391901 w 2391901"/>
                <a:gd name="connsiteY0" fmla="*/ 0 h 257442"/>
                <a:gd name="connsiteX1" fmla="*/ 2337180 w 2391901"/>
                <a:gd name="connsiteY1" fmla="*/ 257442 h 257442"/>
                <a:gd name="connsiteX2" fmla="*/ 1 w 2391901"/>
                <a:gd name="connsiteY2" fmla="*/ 257442 h 257442"/>
                <a:gd name="connsiteX3" fmla="*/ 0 w 2391901"/>
                <a:gd name="connsiteY3" fmla="*/ 0 h 257442"/>
                <a:gd name="connsiteX0" fmla="*/ 2391901 w 2391901"/>
                <a:gd name="connsiteY0" fmla="*/ 0 h 257442"/>
                <a:gd name="connsiteX1" fmla="*/ 2337180 w 2391901"/>
                <a:gd name="connsiteY1" fmla="*/ 257442 h 257442"/>
                <a:gd name="connsiteX2" fmla="*/ 1 w 2391901"/>
                <a:gd name="connsiteY2" fmla="*/ 257442 h 257442"/>
                <a:gd name="connsiteX3" fmla="*/ 0 w 2391901"/>
                <a:gd name="connsiteY3" fmla="*/ 0 h 257442"/>
                <a:gd name="connsiteX0" fmla="*/ 2391900 w 2391900"/>
                <a:gd name="connsiteY0" fmla="*/ 0 h 257442"/>
                <a:gd name="connsiteX1" fmla="*/ 2337179 w 2391900"/>
                <a:gd name="connsiteY1" fmla="*/ 257442 h 257442"/>
                <a:gd name="connsiteX2" fmla="*/ 0 w 2391900"/>
                <a:gd name="connsiteY2" fmla="*/ 257442 h 257442"/>
                <a:gd name="connsiteX3" fmla="*/ 0 w 2391900"/>
                <a:gd name="connsiteY3" fmla="*/ 0 h 257442"/>
                <a:gd name="connsiteX0" fmla="*/ 2569833 w 2569833"/>
                <a:gd name="connsiteY0" fmla="*/ 0 h 257442"/>
                <a:gd name="connsiteX1" fmla="*/ 2337179 w 2569833"/>
                <a:gd name="connsiteY1" fmla="*/ 257442 h 257442"/>
                <a:gd name="connsiteX2" fmla="*/ 0 w 2569833"/>
                <a:gd name="connsiteY2" fmla="*/ 257442 h 257442"/>
                <a:gd name="connsiteX3" fmla="*/ 0 w 2569833"/>
                <a:gd name="connsiteY3" fmla="*/ 0 h 257442"/>
                <a:gd name="connsiteX0" fmla="*/ 2569833 w 2569833"/>
                <a:gd name="connsiteY0" fmla="*/ 0 h 257442"/>
                <a:gd name="connsiteX1" fmla="*/ 2515112 w 2569833"/>
                <a:gd name="connsiteY1" fmla="*/ 257442 h 257442"/>
                <a:gd name="connsiteX2" fmla="*/ 0 w 2569833"/>
                <a:gd name="connsiteY2" fmla="*/ 257442 h 257442"/>
                <a:gd name="connsiteX3" fmla="*/ 0 w 2569833"/>
                <a:gd name="connsiteY3" fmla="*/ 0 h 257442"/>
                <a:gd name="connsiteX0" fmla="*/ 2569834 w 2569834"/>
                <a:gd name="connsiteY0" fmla="*/ 0 h 257442"/>
                <a:gd name="connsiteX1" fmla="*/ 2515113 w 2569834"/>
                <a:gd name="connsiteY1" fmla="*/ 257442 h 257442"/>
                <a:gd name="connsiteX2" fmla="*/ 0 w 2569834"/>
                <a:gd name="connsiteY2" fmla="*/ 257442 h 257442"/>
                <a:gd name="connsiteX3" fmla="*/ 1 w 2569834"/>
                <a:gd name="connsiteY3" fmla="*/ 0 h 257442"/>
                <a:gd name="connsiteX0" fmla="*/ 2569834 w 2569834"/>
                <a:gd name="connsiteY0" fmla="*/ 0 h 257442"/>
                <a:gd name="connsiteX1" fmla="*/ 2515113 w 2569834"/>
                <a:gd name="connsiteY1" fmla="*/ 257442 h 257442"/>
                <a:gd name="connsiteX2" fmla="*/ 0 w 2569834"/>
                <a:gd name="connsiteY2" fmla="*/ 257442 h 257442"/>
                <a:gd name="connsiteX3" fmla="*/ 0 w 2569834"/>
                <a:gd name="connsiteY3" fmla="*/ 0 h 257442"/>
                <a:gd name="connsiteX0" fmla="*/ 2738149 w 2738149"/>
                <a:gd name="connsiteY0" fmla="*/ 0 h 257442"/>
                <a:gd name="connsiteX1" fmla="*/ 2515113 w 2738149"/>
                <a:gd name="connsiteY1" fmla="*/ 257442 h 257442"/>
                <a:gd name="connsiteX2" fmla="*/ 0 w 2738149"/>
                <a:gd name="connsiteY2" fmla="*/ 257442 h 257442"/>
                <a:gd name="connsiteX3" fmla="*/ 0 w 2738149"/>
                <a:gd name="connsiteY3" fmla="*/ 0 h 257442"/>
                <a:gd name="connsiteX0" fmla="*/ 2738149 w 2738149"/>
                <a:gd name="connsiteY0" fmla="*/ 0 h 257442"/>
                <a:gd name="connsiteX1" fmla="*/ 2683428 w 2738149"/>
                <a:gd name="connsiteY1" fmla="*/ 257442 h 257442"/>
                <a:gd name="connsiteX2" fmla="*/ 0 w 2738149"/>
                <a:gd name="connsiteY2" fmla="*/ 257442 h 257442"/>
                <a:gd name="connsiteX3" fmla="*/ 0 w 2738149"/>
                <a:gd name="connsiteY3" fmla="*/ 0 h 257442"/>
                <a:gd name="connsiteX0" fmla="*/ 2738149 w 2738149"/>
                <a:gd name="connsiteY0" fmla="*/ 0 h 257442"/>
                <a:gd name="connsiteX1" fmla="*/ 2683428 w 2738149"/>
                <a:gd name="connsiteY1" fmla="*/ 257442 h 257442"/>
                <a:gd name="connsiteX2" fmla="*/ 0 w 2738149"/>
                <a:gd name="connsiteY2" fmla="*/ 257442 h 257442"/>
                <a:gd name="connsiteX3" fmla="*/ 0 w 2738149"/>
                <a:gd name="connsiteY3" fmla="*/ 0 h 257442"/>
                <a:gd name="connsiteX0" fmla="*/ 2738149 w 2738149"/>
                <a:gd name="connsiteY0" fmla="*/ 0 h 257442"/>
                <a:gd name="connsiteX1" fmla="*/ 2683428 w 2738149"/>
                <a:gd name="connsiteY1" fmla="*/ 257442 h 257442"/>
                <a:gd name="connsiteX2" fmla="*/ 0 w 2738149"/>
                <a:gd name="connsiteY2" fmla="*/ 257442 h 257442"/>
                <a:gd name="connsiteX3" fmla="*/ 0 w 2738149"/>
                <a:gd name="connsiteY3" fmla="*/ 0 h 257442"/>
                <a:gd name="connsiteX0" fmla="*/ 2890435 w 2890435"/>
                <a:gd name="connsiteY0" fmla="*/ 0 h 257442"/>
                <a:gd name="connsiteX1" fmla="*/ 2683428 w 2890435"/>
                <a:gd name="connsiteY1" fmla="*/ 257442 h 257442"/>
                <a:gd name="connsiteX2" fmla="*/ 0 w 2890435"/>
                <a:gd name="connsiteY2" fmla="*/ 257442 h 257442"/>
                <a:gd name="connsiteX3" fmla="*/ 0 w 2890435"/>
                <a:gd name="connsiteY3" fmla="*/ 0 h 257442"/>
                <a:gd name="connsiteX0" fmla="*/ 2890435 w 2890435"/>
                <a:gd name="connsiteY0" fmla="*/ 0 h 257442"/>
                <a:gd name="connsiteX1" fmla="*/ 2835714 w 2890435"/>
                <a:gd name="connsiteY1" fmla="*/ 257442 h 257442"/>
                <a:gd name="connsiteX2" fmla="*/ 0 w 2890435"/>
                <a:gd name="connsiteY2" fmla="*/ 257442 h 257442"/>
                <a:gd name="connsiteX3" fmla="*/ 0 w 2890435"/>
                <a:gd name="connsiteY3" fmla="*/ 0 h 257442"/>
                <a:gd name="connsiteX0" fmla="*/ 2890435 w 2890435"/>
                <a:gd name="connsiteY0" fmla="*/ 0 h 257442"/>
                <a:gd name="connsiteX1" fmla="*/ 2835714 w 2890435"/>
                <a:gd name="connsiteY1" fmla="*/ 257442 h 257442"/>
                <a:gd name="connsiteX2" fmla="*/ 0 w 2890435"/>
                <a:gd name="connsiteY2" fmla="*/ 257442 h 257442"/>
                <a:gd name="connsiteX3" fmla="*/ 0 w 2890435"/>
                <a:gd name="connsiteY3" fmla="*/ 0 h 257442"/>
                <a:gd name="connsiteX0" fmla="*/ 2890435 w 2890435"/>
                <a:gd name="connsiteY0" fmla="*/ 0 h 257442"/>
                <a:gd name="connsiteX1" fmla="*/ 2835714 w 2890435"/>
                <a:gd name="connsiteY1" fmla="*/ 257442 h 257442"/>
                <a:gd name="connsiteX2" fmla="*/ 0 w 2890435"/>
                <a:gd name="connsiteY2" fmla="*/ 257442 h 257442"/>
                <a:gd name="connsiteX3" fmla="*/ 0 w 2890435"/>
                <a:gd name="connsiteY3" fmla="*/ 0 h 257442"/>
                <a:gd name="connsiteX0" fmla="*/ 2991423 w 2991423"/>
                <a:gd name="connsiteY0" fmla="*/ 0 h 257442"/>
                <a:gd name="connsiteX1" fmla="*/ 2835714 w 2991423"/>
                <a:gd name="connsiteY1" fmla="*/ 257442 h 257442"/>
                <a:gd name="connsiteX2" fmla="*/ 0 w 2991423"/>
                <a:gd name="connsiteY2" fmla="*/ 257442 h 257442"/>
                <a:gd name="connsiteX3" fmla="*/ 0 w 2991423"/>
                <a:gd name="connsiteY3" fmla="*/ 0 h 257442"/>
                <a:gd name="connsiteX0" fmla="*/ 2991423 w 2991423"/>
                <a:gd name="connsiteY0" fmla="*/ 0 h 257442"/>
                <a:gd name="connsiteX1" fmla="*/ 2936702 w 2991423"/>
                <a:gd name="connsiteY1" fmla="*/ 257442 h 257442"/>
                <a:gd name="connsiteX2" fmla="*/ 0 w 2991423"/>
                <a:gd name="connsiteY2" fmla="*/ 257442 h 257442"/>
                <a:gd name="connsiteX3" fmla="*/ 0 w 2991423"/>
                <a:gd name="connsiteY3" fmla="*/ 0 h 257442"/>
                <a:gd name="connsiteX0" fmla="*/ 2991423 w 2991423"/>
                <a:gd name="connsiteY0" fmla="*/ 0 h 257442"/>
                <a:gd name="connsiteX1" fmla="*/ 2936702 w 2991423"/>
                <a:gd name="connsiteY1" fmla="*/ 257442 h 257442"/>
                <a:gd name="connsiteX2" fmla="*/ 0 w 2991423"/>
                <a:gd name="connsiteY2" fmla="*/ 257442 h 257442"/>
                <a:gd name="connsiteX3" fmla="*/ 0 w 2991423"/>
                <a:gd name="connsiteY3" fmla="*/ 0 h 257442"/>
                <a:gd name="connsiteX0" fmla="*/ 2991423 w 2991423"/>
                <a:gd name="connsiteY0" fmla="*/ 0 h 257442"/>
                <a:gd name="connsiteX1" fmla="*/ 2936702 w 2991423"/>
                <a:gd name="connsiteY1" fmla="*/ 257442 h 257442"/>
                <a:gd name="connsiteX2" fmla="*/ 0 w 2991423"/>
                <a:gd name="connsiteY2" fmla="*/ 257442 h 257442"/>
                <a:gd name="connsiteX3" fmla="*/ 0 w 2991423"/>
                <a:gd name="connsiteY3" fmla="*/ 0 h 257442"/>
                <a:gd name="connsiteX0" fmla="*/ 3159739 w 3159739"/>
                <a:gd name="connsiteY0" fmla="*/ 0 h 257442"/>
                <a:gd name="connsiteX1" fmla="*/ 2936702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159739 w 3159739"/>
                <a:gd name="connsiteY0" fmla="*/ 0 h 257442"/>
                <a:gd name="connsiteX1" fmla="*/ 3105018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159739 w 3159739"/>
                <a:gd name="connsiteY0" fmla="*/ 0 h 257442"/>
                <a:gd name="connsiteX1" fmla="*/ 3105018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159739 w 3159739"/>
                <a:gd name="connsiteY0" fmla="*/ 0 h 257442"/>
                <a:gd name="connsiteX1" fmla="*/ 3105018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320039 w 3320039"/>
                <a:gd name="connsiteY0" fmla="*/ 0 h 257442"/>
                <a:gd name="connsiteX1" fmla="*/ 3105018 w 3320039"/>
                <a:gd name="connsiteY1" fmla="*/ 257442 h 257442"/>
                <a:gd name="connsiteX2" fmla="*/ 0 w 3320039"/>
                <a:gd name="connsiteY2" fmla="*/ 257442 h 257442"/>
                <a:gd name="connsiteX3" fmla="*/ 0 w 3320039"/>
                <a:gd name="connsiteY3" fmla="*/ 0 h 257442"/>
                <a:gd name="connsiteX0" fmla="*/ 3320039 w 3320039"/>
                <a:gd name="connsiteY0" fmla="*/ 0 h 257442"/>
                <a:gd name="connsiteX1" fmla="*/ 3265318 w 3320039"/>
                <a:gd name="connsiteY1" fmla="*/ 257442 h 257442"/>
                <a:gd name="connsiteX2" fmla="*/ 0 w 3320039"/>
                <a:gd name="connsiteY2" fmla="*/ 257442 h 257442"/>
                <a:gd name="connsiteX3" fmla="*/ 0 w 3320039"/>
                <a:gd name="connsiteY3" fmla="*/ 0 h 257442"/>
                <a:gd name="connsiteX0" fmla="*/ 3320039 w 3320039"/>
                <a:gd name="connsiteY0" fmla="*/ 0 h 257442"/>
                <a:gd name="connsiteX1" fmla="*/ 3265318 w 3320039"/>
                <a:gd name="connsiteY1" fmla="*/ 257442 h 257442"/>
                <a:gd name="connsiteX2" fmla="*/ 0 w 3320039"/>
                <a:gd name="connsiteY2" fmla="*/ 257442 h 257442"/>
                <a:gd name="connsiteX3" fmla="*/ 0 w 3320039"/>
                <a:gd name="connsiteY3" fmla="*/ 0 h 257442"/>
                <a:gd name="connsiteX0" fmla="*/ 3320039 w 3320039"/>
                <a:gd name="connsiteY0" fmla="*/ 0 h 257442"/>
                <a:gd name="connsiteX1" fmla="*/ 3265318 w 3320039"/>
                <a:gd name="connsiteY1" fmla="*/ 257442 h 257442"/>
                <a:gd name="connsiteX2" fmla="*/ 0 w 3320039"/>
                <a:gd name="connsiteY2" fmla="*/ 257442 h 257442"/>
                <a:gd name="connsiteX3" fmla="*/ 0 w 3320039"/>
                <a:gd name="connsiteY3" fmla="*/ 0 h 257442"/>
                <a:gd name="connsiteX0" fmla="*/ 934771 w 3265318"/>
                <a:gd name="connsiteY0" fmla="*/ 0 h 257442"/>
                <a:gd name="connsiteX1" fmla="*/ 3265318 w 3265318"/>
                <a:gd name="connsiteY1" fmla="*/ 257442 h 257442"/>
                <a:gd name="connsiteX2" fmla="*/ 0 w 3265318"/>
                <a:gd name="connsiteY2" fmla="*/ 257442 h 257442"/>
                <a:gd name="connsiteX3" fmla="*/ 0 w 3265318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0 w 934771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0 w 934770"/>
                <a:gd name="connsiteY3" fmla="*/ 0 h 257442"/>
                <a:gd name="connsiteX0" fmla="*/ 1095070 w 1095070"/>
                <a:gd name="connsiteY0" fmla="*/ 0 h 257442"/>
                <a:gd name="connsiteX1" fmla="*/ 880049 w 1095070"/>
                <a:gd name="connsiteY1" fmla="*/ 257442 h 257442"/>
                <a:gd name="connsiteX2" fmla="*/ 0 w 1095070"/>
                <a:gd name="connsiteY2" fmla="*/ 257442 h 257442"/>
                <a:gd name="connsiteX3" fmla="*/ 0 w 1095070"/>
                <a:gd name="connsiteY3" fmla="*/ 0 h 257442"/>
                <a:gd name="connsiteX0" fmla="*/ 1095070 w 1095070"/>
                <a:gd name="connsiteY0" fmla="*/ 0 h 257442"/>
                <a:gd name="connsiteX1" fmla="*/ 1040349 w 1095070"/>
                <a:gd name="connsiteY1" fmla="*/ 257442 h 257442"/>
                <a:gd name="connsiteX2" fmla="*/ 0 w 1095070"/>
                <a:gd name="connsiteY2" fmla="*/ 257442 h 257442"/>
                <a:gd name="connsiteX3" fmla="*/ 0 w 1095070"/>
                <a:gd name="connsiteY3" fmla="*/ 0 h 257442"/>
                <a:gd name="connsiteX0" fmla="*/ 1095071 w 1095071"/>
                <a:gd name="connsiteY0" fmla="*/ 0 h 257442"/>
                <a:gd name="connsiteX1" fmla="*/ 1040350 w 1095071"/>
                <a:gd name="connsiteY1" fmla="*/ 257442 h 257442"/>
                <a:gd name="connsiteX2" fmla="*/ 0 w 1095071"/>
                <a:gd name="connsiteY2" fmla="*/ 257442 h 257442"/>
                <a:gd name="connsiteX3" fmla="*/ 1 w 1095071"/>
                <a:gd name="connsiteY3" fmla="*/ 0 h 257442"/>
                <a:gd name="connsiteX0" fmla="*/ 1095071 w 1095071"/>
                <a:gd name="connsiteY0" fmla="*/ 0 h 257442"/>
                <a:gd name="connsiteX1" fmla="*/ 1040350 w 1095071"/>
                <a:gd name="connsiteY1" fmla="*/ 257442 h 257442"/>
                <a:gd name="connsiteX2" fmla="*/ 0 w 1095071"/>
                <a:gd name="connsiteY2" fmla="*/ 257442 h 257442"/>
                <a:gd name="connsiteX3" fmla="*/ 1 w 1095071"/>
                <a:gd name="connsiteY3" fmla="*/ 0 h 257442"/>
                <a:gd name="connsiteX0" fmla="*/ 1255373 w 1255373"/>
                <a:gd name="connsiteY0" fmla="*/ 0 h 257442"/>
                <a:gd name="connsiteX1" fmla="*/ 1040350 w 1255373"/>
                <a:gd name="connsiteY1" fmla="*/ 257442 h 257442"/>
                <a:gd name="connsiteX2" fmla="*/ 0 w 1255373"/>
                <a:gd name="connsiteY2" fmla="*/ 257442 h 257442"/>
                <a:gd name="connsiteX3" fmla="*/ 1 w 1255373"/>
                <a:gd name="connsiteY3" fmla="*/ 0 h 257442"/>
                <a:gd name="connsiteX0" fmla="*/ 1255373 w 1255373"/>
                <a:gd name="connsiteY0" fmla="*/ 0 h 257442"/>
                <a:gd name="connsiteX1" fmla="*/ 1200652 w 1255373"/>
                <a:gd name="connsiteY1" fmla="*/ 257442 h 257442"/>
                <a:gd name="connsiteX2" fmla="*/ 0 w 1255373"/>
                <a:gd name="connsiteY2" fmla="*/ 257442 h 257442"/>
                <a:gd name="connsiteX3" fmla="*/ 1 w 1255373"/>
                <a:gd name="connsiteY3" fmla="*/ 0 h 257442"/>
                <a:gd name="connsiteX0" fmla="*/ 1255372 w 1255372"/>
                <a:gd name="connsiteY0" fmla="*/ 0 h 257442"/>
                <a:gd name="connsiteX1" fmla="*/ 1200651 w 1255372"/>
                <a:gd name="connsiteY1" fmla="*/ 257442 h 257442"/>
                <a:gd name="connsiteX2" fmla="*/ 0 w 1255372"/>
                <a:gd name="connsiteY2" fmla="*/ 257442 h 257442"/>
                <a:gd name="connsiteX3" fmla="*/ 0 w 1255372"/>
                <a:gd name="connsiteY3" fmla="*/ 0 h 257442"/>
                <a:gd name="connsiteX0" fmla="*/ 1255373 w 1255373"/>
                <a:gd name="connsiteY0" fmla="*/ 0 h 257442"/>
                <a:gd name="connsiteX1" fmla="*/ 1200652 w 1255373"/>
                <a:gd name="connsiteY1" fmla="*/ 257442 h 257442"/>
                <a:gd name="connsiteX2" fmla="*/ 1 w 1255373"/>
                <a:gd name="connsiteY2" fmla="*/ 257442 h 257442"/>
                <a:gd name="connsiteX3" fmla="*/ 0 w 1255373"/>
                <a:gd name="connsiteY3" fmla="*/ 0 h 257442"/>
                <a:gd name="connsiteX0" fmla="*/ 1423688 w 1423688"/>
                <a:gd name="connsiteY0" fmla="*/ 0 h 257442"/>
                <a:gd name="connsiteX1" fmla="*/ 1200652 w 1423688"/>
                <a:gd name="connsiteY1" fmla="*/ 257442 h 257442"/>
                <a:gd name="connsiteX2" fmla="*/ 1 w 1423688"/>
                <a:gd name="connsiteY2" fmla="*/ 257442 h 257442"/>
                <a:gd name="connsiteX3" fmla="*/ 0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1 w 1423688"/>
                <a:gd name="connsiteY2" fmla="*/ 257442 h 257442"/>
                <a:gd name="connsiteX3" fmla="*/ 0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0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0 w 1423688"/>
                <a:gd name="connsiteY3" fmla="*/ 0 h 257442"/>
                <a:gd name="connsiteX0" fmla="*/ 1592002 w 1592002"/>
                <a:gd name="connsiteY0" fmla="*/ 0 h 257442"/>
                <a:gd name="connsiteX1" fmla="*/ 1368966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760317 w 1760317"/>
                <a:gd name="connsiteY0" fmla="*/ 0 h 257442"/>
                <a:gd name="connsiteX1" fmla="*/ 1537281 w 1760317"/>
                <a:gd name="connsiteY1" fmla="*/ 257442 h 257442"/>
                <a:gd name="connsiteX2" fmla="*/ 0 w 1760317"/>
                <a:gd name="connsiteY2" fmla="*/ 257442 h 257442"/>
                <a:gd name="connsiteX3" fmla="*/ 0 w 1760317"/>
                <a:gd name="connsiteY3" fmla="*/ 0 h 257442"/>
                <a:gd name="connsiteX0" fmla="*/ 1760317 w 1760317"/>
                <a:gd name="connsiteY0" fmla="*/ 0 h 257442"/>
                <a:gd name="connsiteX1" fmla="*/ 1705596 w 1760317"/>
                <a:gd name="connsiteY1" fmla="*/ 257442 h 257442"/>
                <a:gd name="connsiteX2" fmla="*/ 0 w 1760317"/>
                <a:gd name="connsiteY2" fmla="*/ 257442 h 257442"/>
                <a:gd name="connsiteX3" fmla="*/ 0 w 1760317"/>
                <a:gd name="connsiteY3" fmla="*/ 0 h 257442"/>
                <a:gd name="connsiteX0" fmla="*/ 1760317 w 1760317"/>
                <a:gd name="connsiteY0" fmla="*/ 0 h 257442"/>
                <a:gd name="connsiteX1" fmla="*/ 1705596 w 1760317"/>
                <a:gd name="connsiteY1" fmla="*/ 257442 h 257442"/>
                <a:gd name="connsiteX2" fmla="*/ 0 w 1760317"/>
                <a:gd name="connsiteY2" fmla="*/ 257442 h 257442"/>
                <a:gd name="connsiteX3" fmla="*/ 0 w 1760317"/>
                <a:gd name="connsiteY3" fmla="*/ 0 h 257442"/>
                <a:gd name="connsiteX0" fmla="*/ 1760317 w 1760317"/>
                <a:gd name="connsiteY0" fmla="*/ 0 h 257442"/>
                <a:gd name="connsiteX1" fmla="*/ 1705596 w 1760317"/>
                <a:gd name="connsiteY1" fmla="*/ 257442 h 257442"/>
                <a:gd name="connsiteX2" fmla="*/ 0 w 1760317"/>
                <a:gd name="connsiteY2" fmla="*/ 257442 h 257442"/>
                <a:gd name="connsiteX3" fmla="*/ 0 w 1760317"/>
                <a:gd name="connsiteY3" fmla="*/ 0 h 257442"/>
                <a:gd name="connsiteX0" fmla="*/ 1928633 w 1928633"/>
                <a:gd name="connsiteY0" fmla="*/ 0 h 257442"/>
                <a:gd name="connsiteX1" fmla="*/ 1705596 w 1928633"/>
                <a:gd name="connsiteY1" fmla="*/ 257442 h 257442"/>
                <a:gd name="connsiteX2" fmla="*/ 0 w 1928633"/>
                <a:gd name="connsiteY2" fmla="*/ 257442 h 257442"/>
                <a:gd name="connsiteX3" fmla="*/ 0 w 1928633"/>
                <a:gd name="connsiteY3" fmla="*/ 0 h 257442"/>
                <a:gd name="connsiteX0" fmla="*/ 1928633 w 1928633"/>
                <a:gd name="connsiteY0" fmla="*/ 0 h 257442"/>
                <a:gd name="connsiteX1" fmla="*/ 1873912 w 1928633"/>
                <a:gd name="connsiteY1" fmla="*/ 257442 h 257442"/>
                <a:gd name="connsiteX2" fmla="*/ 0 w 1928633"/>
                <a:gd name="connsiteY2" fmla="*/ 257442 h 257442"/>
                <a:gd name="connsiteX3" fmla="*/ 0 w 1928633"/>
                <a:gd name="connsiteY3" fmla="*/ 0 h 257442"/>
                <a:gd name="connsiteX0" fmla="*/ 1928633 w 1928633"/>
                <a:gd name="connsiteY0" fmla="*/ 0 h 257442"/>
                <a:gd name="connsiteX1" fmla="*/ 1873912 w 1928633"/>
                <a:gd name="connsiteY1" fmla="*/ 257442 h 257442"/>
                <a:gd name="connsiteX2" fmla="*/ 0 w 1928633"/>
                <a:gd name="connsiteY2" fmla="*/ 257442 h 257442"/>
                <a:gd name="connsiteX3" fmla="*/ 0 w 1928633"/>
                <a:gd name="connsiteY3" fmla="*/ 0 h 257442"/>
                <a:gd name="connsiteX0" fmla="*/ 1928633 w 1928633"/>
                <a:gd name="connsiteY0" fmla="*/ 0 h 257442"/>
                <a:gd name="connsiteX1" fmla="*/ 1873912 w 1928633"/>
                <a:gd name="connsiteY1" fmla="*/ 257442 h 257442"/>
                <a:gd name="connsiteX2" fmla="*/ 0 w 1928633"/>
                <a:gd name="connsiteY2" fmla="*/ 257442 h 257442"/>
                <a:gd name="connsiteX3" fmla="*/ 0 w 1928633"/>
                <a:gd name="connsiteY3" fmla="*/ 0 h 257442"/>
                <a:gd name="connsiteX0" fmla="*/ 2096948 w 2096948"/>
                <a:gd name="connsiteY0" fmla="*/ 0 h 257442"/>
                <a:gd name="connsiteX1" fmla="*/ 1873912 w 2096948"/>
                <a:gd name="connsiteY1" fmla="*/ 257442 h 257442"/>
                <a:gd name="connsiteX2" fmla="*/ 0 w 2096948"/>
                <a:gd name="connsiteY2" fmla="*/ 257442 h 257442"/>
                <a:gd name="connsiteX3" fmla="*/ 0 w 2096948"/>
                <a:gd name="connsiteY3" fmla="*/ 0 h 257442"/>
                <a:gd name="connsiteX0" fmla="*/ 2096948 w 2096948"/>
                <a:gd name="connsiteY0" fmla="*/ 0 h 257442"/>
                <a:gd name="connsiteX1" fmla="*/ 2042226 w 2096948"/>
                <a:gd name="connsiteY1" fmla="*/ 257442 h 257442"/>
                <a:gd name="connsiteX2" fmla="*/ 0 w 2096948"/>
                <a:gd name="connsiteY2" fmla="*/ 257442 h 257442"/>
                <a:gd name="connsiteX3" fmla="*/ 0 w 2096948"/>
                <a:gd name="connsiteY3" fmla="*/ 0 h 257442"/>
                <a:gd name="connsiteX0" fmla="*/ 2096949 w 2096949"/>
                <a:gd name="connsiteY0" fmla="*/ 0 h 257442"/>
                <a:gd name="connsiteX1" fmla="*/ 2042227 w 2096949"/>
                <a:gd name="connsiteY1" fmla="*/ 257442 h 257442"/>
                <a:gd name="connsiteX2" fmla="*/ 0 w 2096949"/>
                <a:gd name="connsiteY2" fmla="*/ 257442 h 257442"/>
                <a:gd name="connsiteX3" fmla="*/ 1 w 2096949"/>
                <a:gd name="connsiteY3" fmla="*/ 0 h 257442"/>
                <a:gd name="connsiteX0" fmla="*/ 2096949 w 2096949"/>
                <a:gd name="connsiteY0" fmla="*/ 0 h 257442"/>
                <a:gd name="connsiteX1" fmla="*/ 2042227 w 2096949"/>
                <a:gd name="connsiteY1" fmla="*/ 257442 h 257442"/>
                <a:gd name="connsiteX2" fmla="*/ 0 w 2096949"/>
                <a:gd name="connsiteY2" fmla="*/ 257442 h 257442"/>
                <a:gd name="connsiteX3" fmla="*/ 1 w 2096949"/>
                <a:gd name="connsiteY3" fmla="*/ 0 h 257442"/>
                <a:gd name="connsiteX0" fmla="*/ 2197938 w 2197938"/>
                <a:gd name="connsiteY0" fmla="*/ 0 h 257442"/>
                <a:gd name="connsiteX1" fmla="*/ 2042227 w 2197938"/>
                <a:gd name="connsiteY1" fmla="*/ 257442 h 257442"/>
                <a:gd name="connsiteX2" fmla="*/ 0 w 2197938"/>
                <a:gd name="connsiteY2" fmla="*/ 257442 h 257442"/>
                <a:gd name="connsiteX3" fmla="*/ 1 w 2197938"/>
                <a:gd name="connsiteY3" fmla="*/ 0 h 257442"/>
                <a:gd name="connsiteX0" fmla="*/ 2197938 w 2197938"/>
                <a:gd name="connsiteY0" fmla="*/ 0 h 257442"/>
                <a:gd name="connsiteX1" fmla="*/ 2143216 w 2197938"/>
                <a:gd name="connsiteY1" fmla="*/ 257442 h 257442"/>
                <a:gd name="connsiteX2" fmla="*/ 0 w 2197938"/>
                <a:gd name="connsiteY2" fmla="*/ 257442 h 257442"/>
                <a:gd name="connsiteX3" fmla="*/ 1 w 2197938"/>
                <a:gd name="connsiteY3" fmla="*/ 0 h 257442"/>
                <a:gd name="connsiteX0" fmla="*/ 2197938 w 2197938"/>
                <a:gd name="connsiteY0" fmla="*/ 0 h 257442"/>
                <a:gd name="connsiteX1" fmla="*/ 2143216 w 2197938"/>
                <a:gd name="connsiteY1" fmla="*/ 257442 h 257442"/>
                <a:gd name="connsiteX2" fmla="*/ 0 w 2197938"/>
                <a:gd name="connsiteY2" fmla="*/ 257442 h 257442"/>
                <a:gd name="connsiteX3" fmla="*/ 1 w 2197938"/>
                <a:gd name="connsiteY3" fmla="*/ 0 h 257442"/>
                <a:gd name="connsiteX0" fmla="*/ 2197938 w 2197938"/>
                <a:gd name="connsiteY0" fmla="*/ 0 h 257442"/>
                <a:gd name="connsiteX1" fmla="*/ 2143216 w 2197938"/>
                <a:gd name="connsiteY1" fmla="*/ 257442 h 257442"/>
                <a:gd name="connsiteX2" fmla="*/ 0 w 2197938"/>
                <a:gd name="connsiteY2" fmla="*/ 257442 h 257442"/>
                <a:gd name="connsiteX3" fmla="*/ 0 w 2197938"/>
                <a:gd name="connsiteY3" fmla="*/ 0 h 257442"/>
                <a:gd name="connsiteX0" fmla="*/ 2366252 w 2366252"/>
                <a:gd name="connsiteY0" fmla="*/ 0 h 257442"/>
                <a:gd name="connsiteX1" fmla="*/ 2143216 w 2366252"/>
                <a:gd name="connsiteY1" fmla="*/ 257442 h 257442"/>
                <a:gd name="connsiteX2" fmla="*/ 0 w 2366252"/>
                <a:gd name="connsiteY2" fmla="*/ 257442 h 257442"/>
                <a:gd name="connsiteX3" fmla="*/ 0 w 2366252"/>
                <a:gd name="connsiteY3" fmla="*/ 0 h 257442"/>
                <a:gd name="connsiteX0" fmla="*/ 2366252 w 2366252"/>
                <a:gd name="connsiteY0" fmla="*/ 0 h 257442"/>
                <a:gd name="connsiteX1" fmla="*/ 2311531 w 2366252"/>
                <a:gd name="connsiteY1" fmla="*/ 257442 h 257442"/>
                <a:gd name="connsiteX2" fmla="*/ 0 w 2366252"/>
                <a:gd name="connsiteY2" fmla="*/ 257442 h 257442"/>
                <a:gd name="connsiteX3" fmla="*/ 0 w 2366252"/>
                <a:gd name="connsiteY3" fmla="*/ 0 h 257442"/>
                <a:gd name="connsiteX0" fmla="*/ 2366252 w 2366252"/>
                <a:gd name="connsiteY0" fmla="*/ 0 h 257442"/>
                <a:gd name="connsiteX1" fmla="*/ 2311531 w 2366252"/>
                <a:gd name="connsiteY1" fmla="*/ 257442 h 257442"/>
                <a:gd name="connsiteX2" fmla="*/ 0 w 2366252"/>
                <a:gd name="connsiteY2" fmla="*/ 257442 h 257442"/>
                <a:gd name="connsiteX3" fmla="*/ 0 w 2366252"/>
                <a:gd name="connsiteY3" fmla="*/ 0 h 257442"/>
                <a:gd name="connsiteX0" fmla="*/ 2366252 w 2366252"/>
                <a:gd name="connsiteY0" fmla="*/ 0 h 257442"/>
                <a:gd name="connsiteX1" fmla="*/ 2311531 w 2366252"/>
                <a:gd name="connsiteY1" fmla="*/ 257442 h 257442"/>
                <a:gd name="connsiteX2" fmla="*/ 0 w 2366252"/>
                <a:gd name="connsiteY2" fmla="*/ 257442 h 257442"/>
                <a:gd name="connsiteX3" fmla="*/ 0 w 2366252"/>
                <a:gd name="connsiteY3" fmla="*/ 0 h 257442"/>
                <a:gd name="connsiteX0" fmla="*/ 2526553 w 2526553"/>
                <a:gd name="connsiteY0" fmla="*/ 0 h 257442"/>
                <a:gd name="connsiteX1" fmla="*/ 2311531 w 2526553"/>
                <a:gd name="connsiteY1" fmla="*/ 257442 h 257442"/>
                <a:gd name="connsiteX2" fmla="*/ 0 w 2526553"/>
                <a:gd name="connsiteY2" fmla="*/ 257442 h 257442"/>
                <a:gd name="connsiteX3" fmla="*/ 0 w 2526553"/>
                <a:gd name="connsiteY3" fmla="*/ 0 h 257442"/>
                <a:gd name="connsiteX0" fmla="*/ 2526553 w 2526553"/>
                <a:gd name="connsiteY0" fmla="*/ 0 h 257442"/>
                <a:gd name="connsiteX1" fmla="*/ 2471832 w 2526553"/>
                <a:gd name="connsiteY1" fmla="*/ 257442 h 257442"/>
                <a:gd name="connsiteX2" fmla="*/ 0 w 2526553"/>
                <a:gd name="connsiteY2" fmla="*/ 257442 h 257442"/>
                <a:gd name="connsiteX3" fmla="*/ 0 w 2526553"/>
                <a:gd name="connsiteY3" fmla="*/ 0 h 257442"/>
                <a:gd name="connsiteX0" fmla="*/ 2526553 w 2526553"/>
                <a:gd name="connsiteY0" fmla="*/ 0 h 257442"/>
                <a:gd name="connsiteX1" fmla="*/ 2471832 w 2526553"/>
                <a:gd name="connsiteY1" fmla="*/ 257442 h 257442"/>
                <a:gd name="connsiteX2" fmla="*/ 0 w 2526553"/>
                <a:gd name="connsiteY2" fmla="*/ 257442 h 257442"/>
                <a:gd name="connsiteX3" fmla="*/ 0 w 2526553"/>
                <a:gd name="connsiteY3" fmla="*/ 0 h 257442"/>
                <a:gd name="connsiteX0" fmla="*/ 2526553 w 2526553"/>
                <a:gd name="connsiteY0" fmla="*/ 0 h 257442"/>
                <a:gd name="connsiteX1" fmla="*/ 2471832 w 2526553"/>
                <a:gd name="connsiteY1" fmla="*/ 257442 h 257442"/>
                <a:gd name="connsiteX2" fmla="*/ 0 w 2526553"/>
                <a:gd name="connsiteY2" fmla="*/ 257442 h 257442"/>
                <a:gd name="connsiteX3" fmla="*/ 0 w 2526553"/>
                <a:gd name="connsiteY3" fmla="*/ 0 h 257442"/>
                <a:gd name="connsiteX0" fmla="*/ 2627542 w 2627542"/>
                <a:gd name="connsiteY0" fmla="*/ 0 h 257442"/>
                <a:gd name="connsiteX1" fmla="*/ 2471832 w 2627542"/>
                <a:gd name="connsiteY1" fmla="*/ 257442 h 257442"/>
                <a:gd name="connsiteX2" fmla="*/ 0 w 2627542"/>
                <a:gd name="connsiteY2" fmla="*/ 257442 h 257442"/>
                <a:gd name="connsiteX3" fmla="*/ 0 w 2627542"/>
                <a:gd name="connsiteY3" fmla="*/ 0 h 257442"/>
                <a:gd name="connsiteX0" fmla="*/ 2627542 w 2627542"/>
                <a:gd name="connsiteY0" fmla="*/ 0 h 257442"/>
                <a:gd name="connsiteX1" fmla="*/ 2572820 w 2627542"/>
                <a:gd name="connsiteY1" fmla="*/ 257442 h 257442"/>
                <a:gd name="connsiteX2" fmla="*/ 0 w 2627542"/>
                <a:gd name="connsiteY2" fmla="*/ 257442 h 257442"/>
                <a:gd name="connsiteX3" fmla="*/ 0 w 2627542"/>
                <a:gd name="connsiteY3" fmla="*/ 0 h 257442"/>
                <a:gd name="connsiteX0" fmla="*/ 2627543 w 2627543"/>
                <a:gd name="connsiteY0" fmla="*/ 0 h 257442"/>
                <a:gd name="connsiteX1" fmla="*/ 2572821 w 2627543"/>
                <a:gd name="connsiteY1" fmla="*/ 257442 h 257442"/>
                <a:gd name="connsiteX2" fmla="*/ 0 w 2627543"/>
                <a:gd name="connsiteY2" fmla="*/ 257442 h 257442"/>
                <a:gd name="connsiteX3" fmla="*/ 1 w 2627543"/>
                <a:gd name="connsiteY3" fmla="*/ 0 h 257442"/>
                <a:gd name="connsiteX0" fmla="*/ 2627543 w 2627543"/>
                <a:gd name="connsiteY0" fmla="*/ 0 h 257442"/>
                <a:gd name="connsiteX1" fmla="*/ 2572821 w 2627543"/>
                <a:gd name="connsiteY1" fmla="*/ 257442 h 257442"/>
                <a:gd name="connsiteX2" fmla="*/ 0 w 2627543"/>
                <a:gd name="connsiteY2" fmla="*/ 257442 h 257442"/>
                <a:gd name="connsiteX3" fmla="*/ 1 w 2627543"/>
                <a:gd name="connsiteY3" fmla="*/ 0 h 257442"/>
                <a:gd name="connsiteX0" fmla="*/ 2526554 w 2572821"/>
                <a:gd name="connsiteY0" fmla="*/ 0 h 257442"/>
                <a:gd name="connsiteX1" fmla="*/ 2572821 w 2572821"/>
                <a:gd name="connsiteY1" fmla="*/ 257442 h 257442"/>
                <a:gd name="connsiteX2" fmla="*/ 0 w 2572821"/>
                <a:gd name="connsiteY2" fmla="*/ 257442 h 257442"/>
                <a:gd name="connsiteX3" fmla="*/ 1 w 2572821"/>
                <a:gd name="connsiteY3" fmla="*/ 0 h 257442"/>
                <a:gd name="connsiteX0" fmla="*/ 2526554 w 2526554"/>
                <a:gd name="connsiteY0" fmla="*/ 0 h 257442"/>
                <a:gd name="connsiteX1" fmla="*/ 2471833 w 2526554"/>
                <a:gd name="connsiteY1" fmla="*/ 257442 h 257442"/>
                <a:gd name="connsiteX2" fmla="*/ 0 w 2526554"/>
                <a:gd name="connsiteY2" fmla="*/ 257442 h 257442"/>
                <a:gd name="connsiteX3" fmla="*/ 1 w 2526554"/>
                <a:gd name="connsiteY3" fmla="*/ 0 h 257442"/>
                <a:gd name="connsiteX0" fmla="*/ 2526553 w 2526553"/>
                <a:gd name="connsiteY0" fmla="*/ 0 h 257442"/>
                <a:gd name="connsiteX1" fmla="*/ 2471832 w 2526553"/>
                <a:gd name="connsiteY1" fmla="*/ 257442 h 257442"/>
                <a:gd name="connsiteX2" fmla="*/ 0 w 2526553"/>
                <a:gd name="connsiteY2" fmla="*/ 257442 h 257442"/>
                <a:gd name="connsiteX3" fmla="*/ 0 w 2526553"/>
                <a:gd name="connsiteY3" fmla="*/ 0 h 257442"/>
                <a:gd name="connsiteX0" fmla="*/ 2526553 w 2526553"/>
                <a:gd name="connsiteY0" fmla="*/ 0 h 257442"/>
                <a:gd name="connsiteX1" fmla="*/ 2471832 w 2526553"/>
                <a:gd name="connsiteY1" fmla="*/ 257442 h 257442"/>
                <a:gd name="connsiteX2" fmla="*/ 0 w 2526553"/>
                <a:gd name="connsiteY2" fmla="*/ 257442 h 257442"/>
                <a:gd name="connsiteX3" fmla="*/ 0 w 2526553"/>
                <a:gd name="connsiteY3" fmla="*/ 0 h 257442"/>
                <a:gd name="connsiteX0" fmla="*/ 2704486 w 2704486"/>
                <a:gd name="connsiteY0" fmla="*/ 0 h 257442"/>
                <a:gd name="connsiteX1" fmla="*/ 2471832 w 2704486"/>
                <a:gd name="connsiteY1" fmla="*/ 257442 h 257442"/>
                <a:gd name="connsiteX2" fmla="*/ 0 w 2704486"/>
                <a:gd name="connsiteY2" fmla="*/ 257442 h 257442"/>
                <a:gd name="connsiteX3" fmla="*/ 0 w 2704486"/>
                <a:gd name="connsiteY3" fmla="*/ 0 h 257442"/>
                <a:gd name="connsiteX0" fmla="*/ 2704486 w 2704486"/>
                <a:gd name="connsiteY0" fmla="*/ 0 h 257442"/>
                <a:gd name="connsiteX1" fmla="*/ 2649764 w 2704486"/>
                <a:gd name="connsiteY1" fmla="*/ 257442 h 257442"/>
                <a:gd name="connsiteX2" fmla="*/ 0 w 2704486"/>
                <a:gd name="connsiteY2" fmla="*/ 257442 h 257442"/>
                <a:gd name="connsiteX3" fmla="*/ 0 w 2704486"/>
                <a:gd name="connsiteY3" fmla="*/ 0 h 257442"/>
                <a:gd name="connsiteX0" fmla="*/ 2704487 w 2704487"/>
                <a:gd name="connsiteY0" fmla="*/ 0 h 257442"/>
                <a:gd name="connsiteX1" fmla="*/ 2649765 w 2704487"/>
                <a:gd name="connsiteY1" fmla="*/ 257442 h 257442"/>
                <a:gd name="connsiteX2" fmla="*/ 0 w 2704487"/>
                <a:gd name="connsiteY2" fmla="*/ 257442 h 257442"/>
                <a:gd name="connsiteX3" fmla="*/ 1 w 2704487"/>
                <a:gd name="connsiteY3" fmla="*/ 0 h 257442"/>
                <a:gd name="connsiteX0" fmla="*/ 2704487 w 2704487"/>
                <a:gd name="connsiteY0" fmla="*/ 0 h 257442"/>
                <a:gd name="connsiteX1" fmla="*/ 2649765 w 2704487"/>
                <a:gd name="connsiteY1" fmla="*/ 257442 h 257442"/>
                <a:gd name="connsiteX2" fmla="*/ 0 w 2704487"/>
                <a:gd name="connsiteY2" fmla="*/ 257442 h 257442"/>
                <a:gd name="connsiteX3" fmla="*/ 1 w 2704487"/>
                <a:gd name="connsiteY3" fmla="*/ 0 h 257442"/>
                <a:gd name="connsiteX0" fmla="*/ 2856772 w 2856772"/>
                <a:gd name="connsiteY0" fmla="*/ 0 h 257442"/>
                <a:gd name="connsiteX1" fmla="*/ 2649765 w 2856772"/>
                <a:gd name="connsiteY1" fmla="*/ 257442 h 257442"/>
                <a:gd name="connsiteX2" fmla="*/ 0 w 2856772"/>
                <a:gd name="connsiteY2" fmla="*/ 257442 h 257442"/>
                <a:gd name="connsiteX3" fmla="*/ 1 w 2856772"/>
                <a:gd name="connsiteY3" fmla="*/ 0 h 257442"/>
                <a:gd name="connsiteX0" fmla="*/ 2856772 w 2856772"/>
                <a:gd name="connsiteY0" fmla="*/ 0 h 257442"/>
                <a:gd name="connsiteX1" fmla="*/ 2802050 w 2856772"/>
                <a:gd name="connsiteY1" fmla="*/ 257442 h 257442"/>
                <a:gd name="connsiteX2" fmla="*/ 0 w 2856772"/>
                <a:gd name="connsiteY2" fmla="*/ 257442 h 257442"/>
                <a:gd name="connsiteX3" fmla="*/ 1 w 2856772"/>
                <a:gd name="connsiteY3" fmla="*/ 0 h 257442"/>
                <a:gd name="connsiteX0" fmla="*/ 2856772 w 2856772"/>
                <a:gd name="connsiteY0" fmla="*/ 0 h 257442"/>
                <a:gd name="connsiteX1" fmla="*/ 2802050 w 2856772"/>
                <a:gd name="connsiteY1" fmla="*/ 257442 h 257442"/>
                <a:gd name="connsiteX2" fmla="*/ 0 w 2856772"/>
                <a:gd name="connsiteY2" fmla="*/ 257442 h 257442"/>
                <a:gd name="connsiteX3" fmla="*/ 1 w 2856772"/>
                <a:gd name="connsiteY3" fmla="*/ 0 h 257442"/>
                <a:gd name="connsiteX0" fmla="*/ 2856772 w 2856772"/>
                <a:gd name="connsiteY0" fmla="*/ 0 h 257442"/>
                <a:gd name="connsiteX1" fmla="*/ 2802050 w 2856772"/>
                <a:gd name="connsiteY1" fmla="*/ 257442 h 257442"/>
                <a:gd name="connsiteX2" fmla="*/ 0 w 2856772"/>
                <a:gd name="connsiteY2" fmla="*/ 257442 h 257442"/>
                <a:gd name="connsiteX3" fmla="*/ 0 w 2856772"/>
                <a:gd name="connsiteY3" fmla="*/ 0 h 257442"/>
                <a:gd name="connsiteX0" fmla="*/ 2957761 w 2957761"/>
                <a:gd name="connsiteY0" fmla="*/ 0 h 257442"/>
                <a:gd name="connsiteX1" fmla="*/ 2802050 w 2957761"/>
                <a:gd name="connsiteY1" fmla="*/ 257442 h 257442"/>
                <a:gd name="connsiteX2" fmla="*/ 0 w 2957761"/>
                <a:gd name="connsiteY2" fmla="*/ 257442 h 257442"/>
                <a:gd name="connsiteX3" fmla="*/ 0 w 2957761"/>
                <a:gd name="connsiteY3" fmla="*/ 0 h 257442"/>
                <a:gd name="connsiteX0" fmla="*/ 2957761 w 2957761"/>
                <a:gd name="connsiteY0" fmla="*/ 0 h 257442"/>
                <a:gd name="connsiteX1" fmla="*/ 2903040 w 2957761"/>
                <a:gd name="connsiteY1" fmla="*/ 257442 h 257442"/>
                <a:gd name="connsiteX2" fmla="*/ 0 w 2957761"/>
                <a:gd name="connsiteY2" fmla="*/ 257442 h 257442"/>
                <a:gd name="connsiteX3" fmla="*/ 0 w 2957761"/>
                <a:gd name="connsiteY3" fmla="*/ 0 h 257442"/>
                <a:gd name="connsiteX0" fmla="*/ 2957761 w 2957761"/>
                <a:gd name="connsiteY0" fmla="*/ 0 h 257442"/>
                <a:gd name="connsiteX1" fmla="*/ 2903040 w 2957761"/>
                <a:gd name="connsiteY1" fmla="*/ 257442 h 257442"/>
                <a:gd name="connsiteX2" fmla="*/ 0 w 2957761"/>
                <a:gd name="connsiteY2" fmla="*/ 257442 h 257442"/>
                <a:gd name="connsiteX3" fmla="*/ 0 w 2957761"/>
                <a:gd name="connsiteY3" fmla="*/ 0 h 257442"/>
                <a:gd name="connsiteX0" fmla="*/ 2957761 w 2957761"/>
                <a:gd name="connsiteY0" fmla="*/ 0 h 257442"/>
                <a:gd name="connsiteX1" fmla="*/ 2903040 w 2957761"/>
                <a:gd name="connsiteY1" fmla="*/ 257442 h 257442"/>
                <a:gd name="connsiteX2" fmla="*/ 0 w 2957761"/>
                <a:gd name="connsiteY2" fmla="*/ 257442 h 257442"/>
                <a:gd name="connsiteX3" fmla="*/ 0 w 2957761"/>
                <a:gd name="connsiteY3" fmla="*/ 0 h 257442"/>
                <a:gd name="connsiteX0" fmla="*/ 3058750 w 3058750"/>
                <a:gd name="connsiteY0" fmla="*/ 0 h 257442"/>
                <a:gd name="connsiteX1" fmla="*/ 2903040 w 3058750"/>
                <a:gd name="connsiteY1" fmla="*/ 257442 h 257442"/>
                <a:gd name="connsiteX2" fmla="*/ 0 w 3058750"/>
                <a:gd name="connsiteY2" fmla="*/ 257442 h 257442"/>
                <a:gd name="connsiteX3" fmla="*/ 0 w 3058750"/>
                <a:gd name="connsiteY3" fmla="*/ 0 h 257442"/>
                <a:gd name="connsiteX0" fmla="*/ 3058750 w 3058750"/>
                <a:gd name="connsiteY0" fmla="*/ 0 h 257442"/>
                <a:gd name="connsiteX1" fmla="*/ 3004028 w 3058750"/>
                <a:gd name="connsiteY1" fmla="*/ 257442 h 257442"/>
                <a:gd name="connsiteX2" fmla="*/ 0 w 3058750"/>
                <a:gd name="connsiteY2" fmla="*/ 257442 h 257442"/>
                <a:gd name="connsiteX3" fmla="*/ 0 w 3058750"/>
                <a:gd name="connsiteY3" fmla="*/ 0 h 257442"/>
                <a:gd name="connsiteX0" fmla="*/ 3058751 w 3058751"/>
                <a:gd name="connsiteY0" fmla="*/ 0 h 257442"/>
                <a:gd name="connsiteX1" fmla="*/ 3004029 w 3058751"/>
                <a:gd name="connsiteY1" fmla="*/ 257442 h 257442"/>
                <a:gd name="connsiteX2" fmla="*/ 0 w 3058751"/>
                <a:gd name="connsiteY2" fmla="*/ 257442 h 257442"/>
                <a:gd name="connsiteX3" fmla="*/ 1 w 3058751"/>
                <a:gd name="connsiteY3" fmla="*/ 0 h 257442"/>
                <a:gd name="connsiteX0" fmla="*/ 3058751 w 3058751"/>
                <a:gd name="connsiteY0" fmla="*/ 0 h 257442"/>
                <a:gd name="connsiteX1" fmla="*/ 3004029 w 3058751"/>
                <a:gd name="connsiteY1" fmla="*/ 257442 h 257442"/>
                <a:gd name="connsiteX2" fmla="*/ 0 w 3058751"/>
                <a:gd name="connsiteY2" fmla="*/ 257442 h 257442"/>
                <a:gd name="connsiteX3" fmla="*/ 1 w 3058751"/>
                <a:gd name="connsiteY3" fmla="*/ 0 h 257442"/>
                <a:gd name="connsiteX0" fmla="*/ 3219051 w 3219051"/>
                <a:gd name="connsiteY0" fmla="*/ 0 h 257442"/>
                <a:gd name="connsiteX1" fmla="*/ 3004029 w 3219051"/>
                <a:gd name="connsiteY1" fmla="*/ 257442 h 257442"/>
                <a:gd name="connsiteX2" fmla="*/ 0 w 3219051"/>
                <a:gd name="connsiteY2" fmla="*/ 257442 h 257442"/>
                <a:gd name="connsiteX3" fmla="*/ 1 w 3219051"/>
                <a:gd name="connsiteY3" fmla="*/ 0 h 257442"/>
                <a:gd name="connsiteX0" fmla="*/ 3219051 w 3219051"/>
                <a:gd name="connsiteY0" fmla="*/ 0 h 257442"/>
                <a:gd name="connsiteX1" fmla="*/ 3164330 w 3219051"/>
                <a:gd name="connsiteY1" fmla="*/ 257442 h 257442"/>
                <a:gd name="connsiteX2" fmla="*/ 0 w 3219051"/>
                <a:gd name="connsiteY2" fmla="*/ 257442 h 257442"/>
                <a:gd name="connsiteX3" fmla="*/ 1 w 3219051"/>
                <a:gd name="connsiteY3" fmla="*/ 0 h 257442"/>
                <a:gd name="connsiteX0" fmla="*/ 3219050 w 3219050"/>
                <a:gd name="connsiteY0" fmla="*/ 0 h 257442"/>
                <a:gd name="connsiteX1" fmla="*/ 3164329 w 3219050"/>
                <a:gd name="connsiteY1" fmla="*/ 257442 h 257442"/>
                <a:gd name="connsiteX2" fmla="*/ 0 w 3219050"/>
                <a:gd name="connsiteY2" fmla="*/ 257442 h 257442"/>
                <a:gd name="connsiteX3" fmla="*/ 0 w 3219050"/>
                <a:gd name="connsiteY3" fmla="*/ 0 h 257442"/>
                <a:gd name="connsiteX0" fmla="*/ 3219051 w 3219051"/>
                <a:gd name="connsiteY0" fmla="*/ 0 h 257442"/>
                <a:gd name="connsiteX1" fmla="*/ 3164330 w 3219051"/>
                <a:gd name="connsiteY1" fmla="*/ 257442 h 257442"/>
                <a:gd name="connsiteX2" fmla="*/ 1 w 3219051"/>
                <a:gd name="connsiteY2" fmla="*/ 257442 h 257442"/>
                <a:gd name="connsiteX3" fmla="*/ 0 w 3219051"/>
                <a:gd name="connsiteY3" fmla="*/ 0 h 257442"/>
                <a:gd name="connsiteX0" fmla="*/ 3371337 w 3371337"/>
                <a:gd name="connsiteY0" fmla="*/ 0 h 257442"/>
                <a:gd name="connsiteX1" fmla="*/ 3164330 w 3371337"/>
                <a:gd name="connsiteY1" fmla="*/ 257442 h 257442"/>
                <a:gd name="connsiteX2" fmla="*/ 1 w 3371337"/>
                <a:gd name="connsiteY2" fmla="*/ 257442 h 257442"/>
                <a:gd name="connsiteX3" fmla="*/ 0 w 3371337"/>
                <a:gd name="connsiteY3" fmla="*/ 0 h 257442"/>
                <a:gd name="connsiteX0" fmla="*/ 3371337 w 3371337"/>
                <a:gd name="connsiteY0" fmla="*/ 0 h 257442"/>
                <a:gd name="connsiteX1" fmla="*/ 3316616 w 3371337"/>
                <a:gd name="connsiteY1" fmla="*/ 257442 h 257442"/>
                <a:gd name="connsiteX2" fmla="*/ 1 w 3371337"/>
                <a:gd name="connsiteY2" fmla="*/ 257442 h 257442"/>
                <a:gd name="connsiteX3" fmla="*/ 0 w 3371337"/>
                <a:gd name="connsiteY3" fmla="*/ 0 h 257442"/>
                <a:gd name="connsiteX0" fmla="*/ 3371337 w 3371337"/>
                <a:gd name="connsiteY0" fmla="*/ 0 h 257442"/>
                <a:gd name="connsiteX1" fmla="*/ 3316616 w 3371337"/>
                <a:gd name="connsiteY1" fmla="*/ 257442 h 257442"/>
                <a:gd name="connsiteX2" fmla="*/ 1 w 3371337"/>
                <a:gd name="connsiteY2" fmla="*/ 257442 h 257442"/>
                <a:gd name="connsiteX3" fmla="*/ 0 w 3371337"/>
                <a:gd name="connsiteY3" fmla="*/ 0 h 257442"/>
                <a:gd name="connsiteX0" fmla="*/ 3371336 w 3371336"/>
                <a:gd name="connsiteY0" fmla="*/ 0 h 257442"/>
                <a:gd name="connsiteX1" fmla="*/ 3316615 w 3371336"/>
                <a:gd name="connsiteY1" fmla="*/ 257442 h 257442"/>
                <a:gd name="connsiteX2" fmla="*/ 0 w 3371336"/>
                <a:gd name="connsiteY2" fmla="*/ 257442 h 257442"/>
                <a:gd name="connsiteX3" fmla="*/ 0 w 3371336"/>
                <a:gd name="connsiteY3" fmla="*/ 0 h 257442"/>
                <a:gd name="connsiteX0" fmla="*/ 3539649 w 3539649"/>
                <a:gd name="connsiteY0" fmla="*/ 0 h 257442"/>
                <a:gd name="connsiteX1" fmla="*/ 3316615 w 3539649"/>
                <a:gd name="connsiteY1" fmla="*/ 257442 h 257442"/>
                <a:gd name="connsiteX2" fmla="*/ 0 w 3539649"/>
                <a:gd name="connsiteY2" fmla="*/ 257442 h 257442"/>
                <a:gd name="connsiteX3" fmla="*/ 0 w 3539649"/>
                <a:gd name="connsiteY3" fmla="*/ 0 h 257442"/>
                <a:gd name="connsiteX0" fmla="*/ 3539649 w 3539649"/>
                <a:gd name="connsiteY0" fmla="*/ 0 h 257442"/>
                <a:gd name="connsiteX1" fmla="*/ 3484928 w 3539649"/>
                <a:gd name="connsiteY1" fmla="*/ 257442 h 257442"/>
                <a:gd name="connsiteX2" fmla="*/ 0 w 3539649"/>
                <a:gd name="connsiteY2" fmla="*/ 257442 h 257442"/>
                <a:gd name="connsiteX3" fmla="*/ 0 w 3539649"/>
                <a:gd name="connsiteY3" fmla="*/ 0 h 257442"/>
                <a:gd name="connsiteX0" fmla="*/ 3539650 w 3539650"/>
                <a:gd name="connsiteY0" fmla="*/ 0 h 257442"/>
                <a:gd name="connsiteX1" fmla="*/ 3484929 w 3539650"/>
                <a:gd name="connsiteY1" fmla="*/ 257442 h 257442"/>
                <a:gd name="connsiteX2" fmla="*/ 0 w 3539650"/>
                <a:gd name="connsiteY2" fmla="*/ 257442 h 257442"/>
                <a:gd name="connsiteX3" fmla="*/ 1 w 3539650"/>
                <a:gd name="connsiteY3" fmla="*/ 0 h 257442"/>
                <a:gd name="connsiteX0" fmla="*/ 3539650 w 3539650"/>
                <a:gd name="connsiteY0" fmla="*/ 0 h 257442"/>
                <a:gd name="connsiteX1" fmla="*/ 3484929 w 3539650"/>
                <a:gd name="connsiteY1" fmla="*/ 257442 h 257442"/>
                <a:gd name="connsiteX2" fmla="*/ 0 w 3539650"/>
                <a:gd name="connsiteY2" fmla="*/ 257442 h 257442"/>
                <a:gd name="connsiteX3" fmla="*/ 0 w 3539650"/>
                <a:gd name="connsiteY3" fmla="*/ 0 h 257442"/>
                <a:gd name="connsiteX0" fmla="*/ 3707966 w 3707966"/>
                <a:gd name="connsiteY0" fmla="*/ 0 h 257442"/>
                <a:gd name="connsiteX1" fmla="*/ 3484929 w 3707966"/>
                <a:gd name="connsiteY1" fmla="*/ 257442 h 257442"/>
                <a:gd name="connsiteX2" fmla="*/ 0 w 3707966"/>
                <a:gd name="connsiteY2" fmla="*/ 257442 h 257442"/>
                <a:gd name="connsiteX3" fmla="*/ 0 w 3707966"/>
                <a:gd name="connsiteY3" fmla="*/ 0 h 257442"/>
                <a:gd name="connsiteX0" fmla="*/ 3707966 w 3707966"/>
                <a:gd name="connsiteY0" fmla="*/ 0 h 257442"/>
                <a:gd name="connsiteX1" fmla="*/ 3653245 w 3707966"/>
                <a:gd name="connsiteY1" fmla="*/ 257442 h 257442"/>
                <a:gd name="connsiteX2" fmla="*/ 0 w 3707966"/>
                <a:gd name="connsiteY2" fmla="*/ 257442 h 257442"/>
                <a:gd name="connsiteX3" fmla="*/ 0 w 3707966"/>
                <a:gd name="connsiteY3" fmla="*/ 0 h 257442"/>
                <a:gd name="connsiteX0" fmla="*/ 3707966 w 3707966"/>
                <a:gd name="connsiteY0" fmla="*/ 0 h 257442"/>
                <a:gd name="connsiteX1" fmla="*/ 3653245 w 3707966"/>
                <a:gd name="connsiteY1" fmla="*/ 257442 h 257442"/>
                <a:gd name="connsiteX2" fmla="*/ 0 w 3707966"/>
                <a:gd name="connsiteY2" fmla="*/ 257442 h 257442"/>
                <a:gd name="connsiteX3" fmla="*/ 0 w 3707966"/>
                <a:gd name="connsiteY3" fmla="*/ 0 h 257442"/>
                <a:gd name="connsiteX0" fmla="*/ 3707966 w 3707966"/>
                <a:gd name="connsiteY0" fmla="*/ 0 h 257442"/>
                <a:gd name="connsiteX1" fmla="*/ 3653245 w 3707966"/>
                <a:gd name="connsiteY1" fmla="*/ 257442 h 257442"/>
                <a:gd name="connsiteX2" fmla="*/ 0 w 3707966"/>
                <a:gd name="connsiteY2" fmla="*/ 257442 h 257442"/>
                <a:gd name="connsiteX3" fmla="*/ 0 w 3707966"/>
                <a:gd name="connsiteY3" fmla="*/ 0 h 257442"/>
                <a:gd name="connsiteX0" fmla="*/ 3868266 w 3868266"/>
                <a:gd name="connsiteY0" fmla="*/ 0 h 257442"/>
                <a:gd name="connsiteX1" fmla="*/ 3653245 w 3868266"/>
                <a:gd name="connsiteY1" fmla="*/ 257442 h 257442"/>
                <a:gd name="connsiteX2" fmla="*/ 0 w 3868266"/>
                <a:gd name="connsiteY2" fmla="*/ 257442 h 257442"/>
                <a:gd name="connsiteX3" fmla="*/ 0 w 3868266"/>
                <a:gd name="connsiteY3" fmla="*/ 0 h 257442"/>
                <a:gd name="connsiteX0" fmla="*/ 3868266 w 3868266"/>
                <a:gd name="connsiteY0" fmla="*/ 0 h 257442"/>
                <a:gd name="connsiteX1" fmla="*/ 3813545 w 3868266"/>
                <a:gd name="connsiteY1" fmla="*/ 257442 h 257442"/>
                <a:gd name="connsiteX2" fmla="*/ 0 w 3868266"/>
                <a:gd name="connsiteY2" fmla="*/ 257442 h 257442"/>
                <a:gd name="connsiteX3" fmla="*/ 0 w 3868266"/>
                <a:gd name="connsiteY3" fmla="*/ 0 h 257442"/>
                <a:gd name="connsiteX0" fmla="*/ 3868266 w 3868266"/>
                <a:gd name="connsiteY0" fmla="*/ 0 h 257442"/>
                <a:gd name="connsiteX1" fmla="*/ 3813545 w 3868266"/>
                <a:gd name="connsiteY1" fmla="*/ 257442 h 257442"/>
                <a:gd name="connsiteX2" fmla="*/ 0 w 3868266"/>
                <a:gd name="connsiteY2" fmla="*/ 257442 h 257442"/>
                <a:gd name="connsiteX3" fmla="*/ 0 w 3868266"/>
                <a:gd name="connsiteY3" fmla="*/ 0 h 257442"/>
                <a:gd name="connsiteX0" fmla="*/ 3868266 w 3868266"/>
                <a:gd name="connsiteY0" fmla="*/ 0 h 257442"/>
                <a:gd name="connsiteX1" fmla="*/ 3813545 w 3868266"/>
                <a:gd name="connsiteY1" fmla="*/ 257442 h 257442"/>
                <a:gd name="connsiteX2" fmla="*/ 0 w 3868266"/>
                <a:gd name="connsiteY2" fmla="*/ 257442 h 257442"/>
                <a:gd name="connsiteX3" fmla="*/ 0 w 3868266"/>
                <a:gd name="connsiteY3" fmla="*/ 0 h 257442"/>
                <a:gd name="connsiteX0" fmla="*/ 4036581 w 4036581"/>
                <a:gd name="connsiteY0" fmla="*/ 0 h 257442"/>
                <a:gd name="connsiteX1" fmla="*/ 3813545 w 4036581"/>
                <a:gd name="connsiteY1" fmla="*/ 257442 h 257442"/>
                <a:gd name="connsiteX2" fmla="*/ 0 w 4036581"/>
                <a:gd name="connsiteY2" fmla="*/ 257442 h 257442"/>
                <a:gd name="connsiteX3" fmla="*/ 0 w 4036581"/>
                <a:gd name="connsiteY3" fmla="*/ 0 h 257442"/>
                <a:gd name="connsiteX0" fmla="*/ 4036581 w 4036581"/>
                <a:gd name="connsiteY0" fmla="*/ 0 h 257442"/>
                <a:gd name="connsiteX1" fmla="*/ 3981860 w 4036581"/>
                <a:gd name="connsiteY1" fmla="*/ 257442 h 257442"/>
                <a:gd name="connsiteX2" fmla="*/ 0 w 4036581"/>
                <a:gd name="connsiteY2" fmla="*/ 257442 h 257442"/>
                <a:gd name="connsiteX3" fmla="*/ 0 w 4036581"/>
                <a:gd name="connsiteY3" fmla="*/ 0 h 257442"/>
                <a:gd name="connsiteX0" fmla="*/ 4036581 w 4036581"/>
                <a:gd name="connsiteY0" fmla="*/ 0 h 257442"/>
                <a:gd name="connsiteX1" fmla="*/ 3981860 w 4036581"/>
                <a:gd name="connsiteY1" fmla="*/ 257442 h 257442"/>
                <a:gd name="connsiteX2" fmla="*/ 0 w 4036581"/>
                <a:gd name="connsiteY2" fmla="*/ 257442 h 257442"/>
                <a:gd name="connsiteX3" fmla="*/ 0 w 4036581"/>
                <a:gd name="connsiteY3" fmla="*/ 0 h 257442"/>
                <a:gd name="connsiteX0" fmla="*/ 4036581 w 4036581"/>
                <a:gd name="connsiteY0" fmla="*/ 0 h 257442"/>
                <a:gd name="connsiteX1" fmla="*/ 3981860 w 4036581"/>
                <a:gd name="connsiteY1" fmla="*/ 257442 h 257442"/>
                <a:gd name="connsiteX2" fmla="*/ 0 w 4036581"/>
                <a:gd name="connsiteY2" fmla="*/ 257442 h 257442"/>
                <a:gd name="connsiteX3" fmla="*/ 0 w 4036581"/>
                <a:gd name="connsiteY3" fmla="*/ 0 h 257442"/>
                <a:gd name="connsiteX0" fmla="*/ 4188867 w 4188867"/>
                <a:gd name="connsiteY0" fmla="*/ 0 h 257442"/>
                <a:gd name="connsiteX1" fmla="*/ 3981860 w 4188867"/>
                <a:gd name="connsiteY1" fmla="*/ 257442 h 257442"/>
                <a:gd name="connsiteX2" fmla="*/ 0 w 4188867"/>
                <a:gd name="connsiteY2" fmla="*/ 257442 h 257442"/>
                <a:gd name="connsiteX3" fmla="*/ 0 w 4188867"/>
                <a:gd name="connsiteY3" fmla="*/ 0 h 257442"/>
                <a:gd name="connsiteX0" fmla="*/ 4188867 w 4188867"/>
                <a:gd name="connsiteY0" fmla="*/ 0 h 257442"/>
                <a:gd name="connsiteX1" fmla="*/ 4134146 w 4188867"/>
                <a:gd name="connsiteY1" fmla="*/ 257442 h 257442"/>
                <a:gd name="connsiteX2" fmla="*/ 0 w 4188867"/>
                <a:gd name="connsiteY2" fmla="*/ 257442 h 257442"/>
                <a:gd name="connsiteX3" fmla="*/ 0 w 4188867"/>
                <a:gd name="connsiteY3" fmla="*/ 0 h 257442"/>
                <a:gd name="connsiteX0" fmla="*/ 4188867 w 4188867"/>
                <a:gd name="connsiteY0" fmla="*/ 0 h 257442"/>
                <a:gd name="connsiteX1" fmla="*/ 4134146 w 4188867"/>
                <a:gd name="connsiteY1" fmla="*/ 257442 h 257442"/>
                <a:gd name="connsiteX2" fmla="*/ 0 w 4188867"/>
                <a:gd name="connsiteY2" fmla="*/ 257442 h 257442"/>
                <a:gd name="connsiteX3" fmla="*/ 0 w 4188867"/>
                <a:gd name="connsiteY3" fmla="*/ 0 h 257442"/>
                <a:gd name="connsiteX0" fmla="*/ 4188867 w 4188867"/>
                <a:gd name="connsiteY0" fmla="*/ 0 h 257442"/>
                <a:gd name="connsiteX1" fmla="*/ 4134146 w 4188867"/>
                <a:gd name="connsiteY1" fmla="*/ 257442 h 257442"/>
                <a:gd name="connsiteX2" fmla="*/ 0 w 4188867"/>
                <a:gd name="connsiteY2" fmla="*/ 257442 h 257442"/>
                <a:gd name="connsiteX3" fmla="*/ 0 w 4188867"/>
                <a:gd name="connsiteY3" fmla="*/ 0 h 257442"/>
                <a:gd name="connsiteX0" fmla="*/ 4289856 w 4289856"/>
                <a:gd name="connsiteY0" fmla="*/ 0 h 257442"/>
                <a:gd name="connsiteX1" fmla="*/ 4134146 w 4289856"/>
                <a:gd name="connsiteY1" fmla="*/ 257442 h 257442"/>
                <a:gd name="connsiteX2" fmla="*/ 0 w 4289856"/>
                <a:gd name="connsiteY2" fmla="*/ 257442 h 257442"/>
                <a:gd name="connsiteX3" fmla="*/ 0 w 4289856"/>
                <a:gd name="connsiteY3" fmla="*/ 0 h 257442"/>
                <a:gd name="connsiteX0" fmla="*/ 4289856 w 4289856"/>
                <a:gd name="connsiteY0" fmla="*/ 0 h 257442"/>
                <a:gd name="connsiteX1" fmla="*/ 4235134 w 4289856"/>
                <a:gd name="connsiteY1" fmla="*/ 257442 h 257442"/>
                <a:gd name="connsiteX2" fmla="*/ 0 w 4289856"/>
                <a:gd name="connsiteY2" fmla="*/ 257442 h 257442"/>
                <a:gd name="connsiteX3" fmla="*/ 0 w 4289856"/>
                <a:gd name="connsiteY3" fmla="*/ 0 h 257442"/>
                <a:gd name="connsiteX0" fmla="*/ 4289857 w 4289857"/>
                <a:gd name="connsiteY0" fmla="*/ 0 h 257442"/>
                <a:gd name="connsiteX1" fmla="*/ 4235135 w 4289857"/>
                <a:gd name="connsiteY1" fmla="*/ 257442 h 257442"/>
                <a:gd name="connsiteX2" fmla="*/ 0 w 4289857"/>
                <a:gd name="connsiteY2" fmla="*/ 257442 h 257442"/>
                <a:gd name="connsiteX3" fmla="*/ 1 w 4289857"/>
                <a:gd name="connsiteY3" fmla="*/ 0 h 257442"/>
                <a:gd name="connsiteX0" fmla="*/ 4289857 w 4289857"/>
                <a:gd name="connsiteY0" fmla="*/ 0 h 257442"/>
                <a:gd name="connsiteX1" fmla="*/ 4235135 w 4289857"/>
                <a:gd name="connsiteY1" fmla="*/ 257442 h 257442"/>
                <a:gd name="connsiteX2" fmla="*/ 0 w 4289857"/>
                <a:gd name="connsiteY2" fmla="*/ 257442 h 257442"/>
                <a:gd name="connsiteX3" fmla="*/ 1 w 428985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89857" h="257442">
                  <a:moveTo>
                    <a:pt x="4289857" y="0"/>
                  </a:moveTo>
                  <a:lnTo>
                    <a:pt x="4235135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>
                <a:solidFill>
                  <a:schemeClr val="tx1"/>
                </a:solidFill>
              </a:endParaRPr>
            </a:p>
          </p:txBody>
        </p:sp>
        <p:sp>
          <p:nvSpPr>
            <p:cNvPr id="23" name="btfpRunningAgenda2LevelTextLeft587740">
              <a:extLst>
                <a:ext uri="{FF2B5EF4-FFF2-40B4-BE49-F238E27FC236}">
                  <a16:creationId xmlns:a16="http://schemas.microsoft.com/office/drawing/2014/main" id="{FDE41B3D-2502-D694-C088-E56DCDA4E18A}"/>
                </a:ext>
              </a:extLst>
            </p:cNvPr>
            <p:cNvSpPr txBox="1"/>
            <p:nvPr/>
          </p:nvSpPr>
          <p:spPr bwMode="gray">
            <a:xfrm>
              <a:off x="0" y="876300"/>
              <a:ext cx="3669052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it-IT" sz="1200" b="1" cap="all" spc="450" dirty="0">
                  <a:solidFill>
                    <a:srgbClr val="FFFFFF"/>
                  </a:solidFill>
                </a:rPr>
                <a:t>Feedback degli studenti</a:t>
              </a:r>
            </a:p>
          </p:txBody>
        </p:sp>
        <p:sp>
          <p:nvSpPr>
            <p:cNvPr id="24" name="btfpRunningAgenda2LevelBarRight587740">
              <a:extLst>
                <a:ext uri="{FF2B5EF4-FFF2-40B4-BE49-F238E27FC236}">
                  <a16:creationId xmlns:a16="http://schemas.microsoft.com/office/drawing/2014/main" id="{32C6F0C4-EC17-1468-A308-2D1835BAE49B}"/>
                </a:ext>
              </a:extLst>
            </p:cNvPr>
            <p:cNvSpPr/>
            <p:nvPr/>
          </p:nvSpPr>
          <p:spPr bwMode="gray">
            <a:xfrm>
              <a:off x="4155014" y="876300"/>
              <a:ext cx="1271403" cy="257442"/>
            </a:xfrm>
            <a:custGeom>
              <a:avLst/>
              <a:gdLst>
                <a:gd name="connsiteX0" fmla="*/ 950801 w 2367856"/>
                <a:gd name="connsiteY0" fmla="*/ 0 h 257442"/>
                <a:gd name="connsiteX1" fmla="*/ 2367856 w 2367856"/>
                <a:gd name="connsiteY1" fmla="*/ 0 h 257442"/>
                <a:gd name="connsiteX2" fmla="*/ 2313135 w 2367856"/>
                <a:gd name="connsiteY2" fmla="*/ 257442 h 257442"/>
                <a:gd name="connsiteX3" fmla="*/ 0 w 2367856"/>
                <a:gd name="connsiteY3" fmla="*/ 257442 h 257442"/>
                <a:gd name="connsiteX0" fmla="*/ 950801 w 2313135"/>
                <a:gd name="connsiteY0" fmla="*/ 0 h 257442"/>
                <a:gd name="connsiteX1" fmla="*/ 896080 w 2313135"/>
                <a:gd name="connsiteY1" fmla="*/ 257442 h 257442"/>
                <a:gd name="connsiteX2" fmla="*/ 2313135 w 2313135"/>
                <a:gd name="connsiteY2" fmla="*/ 257442 h 257442"/>
                <a:gd name="connsiteX3" fmla="*/ 0 w 2313135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1 w 950800"/>
                <a:gd name="connsiteY3" fmla="*/ 0 h 257442"/>
                <a:gd name="connsiteX0" fmla="*/ 1111100 w 1111100"/>
                <a:gd name="connsiteY0" fmla="*/ 0 h 257442"/>
                <a:gd name="connsiteX1" fmla="*/ 8960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0 w 1111100"/>
                <a:gd name="connsiteY0" fmla="*/ 0 h 257442"/>
                <a:gd name="connsiteX1" fmla="*/ 1056379 w 1111100"/>
                <a:gd name="connsiteY1" fmla="*/ 257442 h 257442"/>
                <a:gd name="connsiteX2" fmla="*/ 0 w 1111100"/>
                <a:gd name="connsiteY2" fmla="*/ 257442 h 257442"/>
                <a:gd name="connsiteX3" fmla="*/ 54721 w 1111100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2 w 1111101"/>
                <a:gd name="connsiteY3" fmla="*/ 0 h 257442"/>
                <a:gd name="connsiteX0" fmla="*/ 1279417 w 1279417"/>
                <a:gd name="connsiteY0" fmla="*/ 0 h 257442"/>
                <a:gd name="connsiteX1" fmla="*/ 1056380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7 w 1279417"/>
                <a:gd name="connsiteY0" fmla="*/ 0 h 257442"/>
                <a:gd name="connsiteX1" fmla="*/ 1224696 w 1279417"/>
                <a:gd name="connsiteY1" fmla="*/ 257442 h 257442"/>
                <a:gd name="connsiteX2" fmla="*/ 0 w 1279417"/>
                <a:gd name="connsiteY2" fmla="*/ 257442 h 257442"/>
                <a:gd name="connsiteX3" fmla="*/ 54722 w 1279417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1 w 1279416"/>
                <a:gd name="connsiteY3" fmla="*/ 0 h 257442"/>
                <a:gd name="connsiteX0" fmla="*/ 1279416 w 1279416"/>
                <a:gd name="connsiteY0" fmla="*/ 0 h 257442"/>
                <a:gd name="connsiteX1" fmla="*/ 1224695 w 1279416"/>
                <a:gd name="connsiteY1" fmla="*/ 257442 h 257442"/>
                <a:gd name="connsiteX2" fmla="*/ 0 w 1279416"/>
                <a:gd name="connsiteY2" fmla="*/ 257442 h 257442"/>
                <a:gd name="connsiteX3" fmla="*/ 54720 w 1279416"/>
                <a:gd name="connsiteY3" fmla="*/ 0 h 257442"/>
                <a:gd name="connsiteX0" fmla="*/ 1439716 w 1439716"/>
                <a:gd name="connsiteY0" fmla="*/ 0 h 257442"/>
                <a:gd name="connsiteX1" fmla="*/ 1224695 w 1439716"/>
                <a:gd name="connsiteY1" fmla="*/ 257442 h 257442"/>
                <a:gd name="connsiteX2" fmla="*/ 0 w 1439716"/>
                <a:gd name="connsiteY2" fmla="*/ 257442 h 257442"/>
                <a:gd name="connsiteX3" fmla="*/ 54720 w 1439716"/>
                <a:gd name="connsiteY3" fmla="*/ 0 h 257442"/>
                <a:gd name="connsiteX0" fmla="*/ 1439716 w 1439716"/>
                <a:gd name="connsiteY0" fmla="*/ 0 h 257442"/>
                <a:gd name="connsiteX1" fmla="*/ 1384995 w 1439716"/>
                <a:gd name="connsiteY1" fmla="*/ 257442 h 257442"/>
                <a:gd name="connsiteX2" fmla="*/ 0 w 1439716"/>
                <a:gd name="connsiteY2" fmla="*/ 257442 h 257442"/>
                <a:gd name="connsiteX3" fmla="*/ 54720 w 1439716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1 w 1439717"/>
                <a:gd name="connsiteY3" fmla="*/ 0 h 257442"/>
                <a:gd name="connsiteX0" fmla="*/ 1439717 w 1439717"/>
                <a:gd name="connsiteY0" fmla="*/ 0 h 257442"/>
                <a:gd name="connsiteX1" fmla="*/ 1384996 w 1439717"/>
                <a:gd name="connsiteY1" fmla="*/ 257442 h 257442"/>
                <a:gd name="connsiteX2" fmla="*/ 0 w 1439717"/>
                <a:gd name="connsiteY2" fmla="*/ 257442 h 257442"/>
                <a:gd name="connsiteX3" fmla="*/ 54722 w 1439717"/>
                <a:gd name="connsiteY3" fmla="*/ 0 h 257442"/>
                <a:gd name="connsiteX0" fmla="*/ 1617651 w 1617651"/>
                <a:gd name="connsiteY0" fmla="*/ 0 h 257442"/>
                <a:gd name="connsiteX1" fmla="*/ 1384996 w 1617651"/>
                <a:gd name="connsiteY1" fmla="*/ 257442 h 257442"/>
                <a:gd name="connsiteX2" fmla="*/ 0 w 1617651"/>
                <a:gd name="connsiteY2" fmla="*/ 257442 h 257442"/>
                <a:gd name="connsiteX3" fmla="*/ 54722 w 1617651"/>
                <a:gd name="connsiteY3" fmla="*/ 0 h 257442"/>
                <a:gd name="connsiteX0" fmla="*/ 1617651 w 1617651"/>
                <a:gd name="connsiteY0" fmla="*/ 0 h 257442"/>
                <a:gd name="connsiteX1" fmla="*/ 1562930 w 1617651"/>
                <a:gd name="connsiteY1" fmla="*/ 257442 h 257442"/>
                <a:gd name="connsiteX2" fmla="*/ 0 w 1617651"/>
                <a:gd name="connsiteY2" fmla="*/ 257442 h 257442"/>
                <a:gd name="connsiteX3" fmla="*/ 54722 w 1617651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1 w 1617650"/>
                <a:gd name="connsiteY3" fmla="*/ 0 h 257442"/>
                <a:gd name="connsiteX0" fmla="*/ 1617650 w 1617650"/>
                <a:gd name="connsiteY0" fmla="*/ 0 h 257442"/>
                <a:gd name="connsiteX1" fmla="*/ 1562929 w 1617650"/>
                <a:gd name="connsiteY1" fmla="*/ 257442 h 257442"/>
                <a:gd name="connsiteX2" fmla="*/ 0 w 1617650"/>
                <a:gd name="connsiteY2" fmla="*/ 257442 h 257442"/>
                <a:gd name="connsiteX3" fmla="*/ 54720 w 1617650"/>
                <a:gd name="connsiteY3" fmla="*/ 0 h 257442"/>
                <a:gd name="connsiteX0" fmla="*/ 1785964 w 1785964"/>
                <a:gd name="connsiteY0" fmla="*/ 0 h 257442"/>
                <a:gd name="connsiteX1" fmla="*/ 1562929 w 1785964"/>
                <a:gd name="connsiteY1" fmla="*/ 257442 h 257442"/>
                <a:gd name="connsiteX2" fmla="*/ 0 w 1785964"/>
                <a:gd name="connsiteY2" fmla="*/ 257442 h 257442"/>
                <a:gd name="connsiteX3" fmla="*/ 54720 w 1785964"/>
                <a:gd name="connsiteY3" fmla="*/ 0 h 257442"/>
                <a:gd name="connsiteX0" fmla="*/ 1785964 w 1785964"/>
                <a:gd name="connsiteY0" fmla="*/ 0 h 257442"/>
                <a:gd name="connsiteX1" fmla="*/ 1731243 w 1785964"/>
                <a:gd name="connsiteY1" fmla="*/ 257442 h 257442"/>
                <a:gd name="connsiteX2" fmla="*/ 0 w 1785964"/>
                <a:gd name="connsiteY2" fmla="*/ 257442 h 257442"/>
                <a:gd name="connsiteX3" fmla="*/ 54720 w 1785964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1 w 1785965"/>
                <a:gd name="connsiteY3" fmla="*/ 0 h 257442"/>
                <a:gd name="connsiteX0" fmla="*/ 1785965 w 1785965"/>
                <a:gd name="connsiteY0" fmla="*/ 0 h 257442"/>
                <a:gd name="connsiteX1" fmla="*/ 1731244 w 1785965"/>
                <a:gd name="connsiteY1" fmla="*/ 257442 h 257442"/>
                <a:gd name="connsiteX2" fmla="*/ 0 w 1785965"/>
                <a:gd name="connsiteY2" fmla="*/ 257442 h 257442"/>
                <a:gd name="connsiteX3" fmla="*/ 54722 w 1785965"/>
                <a:gd name="connsiteY3" fmla="*/ 0 h 257442"/>
                <a:gd name="connsiteX0" fmla="*/ 1946266 w 1946266"/>
                <a:gd name="connsiteY0" fmla="*/ 0 h 257442"/>
                <a:gd name="connsiteX1" fmla="*/ 1731244 w 1946266"/>
                <a:gd name="connsiteY1" fmla="*/ 257442 h 257442"/>
                <a:gd name="connsiteX2" fmla="*/ 0 w 1946266"/>
                <a:gd name="connsiteY2" fmla="*/ 257442 h 257442"/>
                <a:gd name="connsiteX3" fmla="*/ 54722 w 1946266"/>
                <a:gd name="connsiteY3" fmla="*/ 0 h 257442"/>
                <a:gd name="connsiteX0" fmla="*/ 1946266 w 1946266"/>
                <a:gd name="connsiteY0" fmla="*/ 0 h 257442"/>
                <a:gd name="connsiteX1" fmla="*/ 1891544 w 1946266"/>
                <a:gd name="connsiteY1" fmla="*/ 257442 h 257442"/>
                <a:gd name="connsiteX2" fmla="*/ 0 w 1946266"/>
                <a:gd name="connsiteY2" fmla="*/ 257442 h 257442"/>
                <a:gd name="connsiteX3" fmla="*/ 54722 w 1946266"/>
                <a:gd name="connsiteY3" fmla="*/ 0 h 257442"/>
                <a:gd name="connsiteX0" fmla="*/ 1946266 w 1946266"/>
                <a:gd name="connsiteY0" fmla="*/ 0 h 257442"/>
                <a:gd name="connsiteX1" fmla="*/ 1891544 w 1946266"/>
                <a:gd name="connsiteY1" fmla="*/ 257442 h 257442"/>
                <a:gd name="connsiteX2" fmla="*/ 0 w 1946266"/>
                <a:gd name="connsiteY2" fmla="*/ 257442 h 257442"/>
                <a:gd name="connsiteX3" fmla="*/ 54722 w 1946266"/>
                <a:gd name="connsiteY3" fmla="*/ 0 h 257442"/>
                <a:gd name="connsiteX0" fmla="*/ 1946266 w 1946266"/>
                <a:gd name="connsiteY0" fmla="*/ 0 h 257442"/>
                <a:gd name="connsiteX1" fmla="*/ 1891544 w 1946266"/>
                <a:gd name="connsiteY1" fmla="*/ 257442 h 257442"/>
                <a:gd name="connsiteX2" fmla="*/ 0 w 1946266"/>
                <a:gd name="connsiteY2" fmla="*/ 257442 h 257442"/>
                <a:gd name="connsiteX3" fmla="*/ 54721 w 1946266"/>
                <a:gd name="connsiteY3" fmla="*/ 0 h 257442"/>
                <a:gd name="connsiteX0" fmla="*/ 2199540 w 2199540"/>
                <a:gd name="connsiteY0" fmla="*/ 0 h 257442"/>
                <a:gd name="connsiteX1" fmla="*/ 1891544 w 2199540"/>
                <a:gd name="connsiteY1" fmla="*/ 257442 h 257442"/>
                <a:gd name="connsiteX2" fmla="*/ 0 w 2199540"/>
                <a:gd name="connsiteY2" fmla="*/ 257442 h 257442"/>
                <a:gd name="connsiteX3" fmla="*/ 54721 w 2199540"/>
                <a:gd name="connsiteY3" fmla="*/ 0 h 257442"/>
                <a:gd name="connsiteX0" fmla="*/ 2199540 w 2199540"/>
                <a:gd name="connsiteY0" fmla="*/ 0 h 257442"/>
                <a:gd name="connsiteX1" fmla="*/ 2144819 w 2199540"/>
                <a:gd name="connsiteY1" fmla="*/ 257442 h 257442"/>
                <a:gd name="connsiteX2" fmla="*/ 0 w 2199540"/>
                <a:gd name="connsiteY2" fmla="*/ 257442 h 257442"/>
                <a:gd name="connsiteX3" fmla="*/ 54721 w 2199540"/>
                <a:gd name="connsiteY3" fmla="*/ 0 h 257442"/>
                <a:gd name="connsiteX0" fmla="*/ 2199540 w 2199540"/>
                <a:gd name="connsiteY0" fmla="*/ 0 h 257442"/>
                <a:gd name="connsiteX1" fmla="*/ 2144819 w 2199540"/>
                <a:gd name="connsiteY1" fmla="*/ 257442 h 257442"/>
                <a:gd name="connsiteX2" fmla="*/ 0 w 2199540"/>
                <a:gd name="connsiteY2" fmla="*/ 257442 h 257442"/>
                <a:gd name="connsiteX3" fmla="*/ 54721 w 2199540"/>
                <a:gd name="connsiteY3" fmla="*/ 0 h 257442"/>
                <a:gd name="connsiteX0" fmla="*/ 2199540 w 2199540"/>
                <a:gd name="connsiteY0" fmla="*/ 0 h 257442"/>
                <a:gd name="connsiteX1" fmla="*/ 2144819 w 2199540"/>
                <a:gd name="connsiteY1" fmla="*/ 257442 h 257442"/>
                <a:gd name="connsiteX2" fmla="*/ 0 w 2199540"/>
                <a:gd name="connsiteY2" fmla="*/ 257442 h 257442"/>
                <a:gd name="connsiteX3" fmla="*/ 54721 w 2199540"/>
                <a:gd name="connsiteY3" fmla="*/ 0 h 257442"/>
                <a:gd name="connsiteX0" fmla="*/ 2377474 w 2377474"/>
                <a:gd name="connsiteY0" fmla="*/ 0 h 257442"/>
                <a:gd name="connsiteX1" fmla="*/ 2144819 w 2377474"/>
                <a:gd name="connsiteY1" fmla="*/ 257442 h 257442"/>
                <a:gd name="connsiteX2" fmla="*/ 0 w 2377474"/>
                <a:gd name="connsiteY2" fmla="*/ 257442 h 257442"/>
                <a:gd name="connsiteX3" fmla="*/ 54721 w 2377474"/>
                <a:gd name="connsiteY3" fmla="*/ 0 h 257442"/>
                <a:gd name="connsiteX0" fmla="*/ 2377474 w 2377474"/>
                <a:gd name="connsiteY0" fmla="*/ 0 h 257442"/>
                <a:gd name="connsiteX1" fmla="*/ 2322753 w 2377474"/>
                <a:gd name="connsiteY1" fmla="*/ 257442 h 257442"/>
                <a:gd name="connsiteX2" fmla="*/ 0 w 2377474"/>
                <a:gd name="connsiteY2" fmla="*/ 257442 h 257442"/>
                <a:gd name="connsiteX3" fmla="*/ 54721 w 2377474"/>
                <a:gd name="connsiteY3" fmla="*/ 0 h 257442"/>
                <a:gd name="connsiteX0" fmla="*/ 2377474 w 2377474"/>
                <a:gd name="connsiteY0" fmla="*/ 0 h 257442"/>
                <a:gd name="connsiteX1" fmla="*/ 2322753 w 2377474"/>
                <a:gd name="connsiteY1" fmla="*/ 257442 h 257442"/>
                <a:gd name="connsiteX2" fmla="*/ 0 w 2377474"/>
                <a:gd name="connsiteY2" fmla="*/ 257442 h 257442"/>
                <a:gd name="connsiteX3" fmla="*/ 54721 w 2377474"/>
                <a:gd name="connsiteY3" fmla="*/ 0 h 257442"/>
                <a:gd name="connsiteX0" fmla="*/ 2377474 w 2377474"/>
                <a:gd name="connsiteY0" fmla="*/ 0 h 257442"/>
                <a:gd name="connsiteX1" fmla="*/ 2322753 w 2377474"/>
                <a:gd name="connsiteY1" fmla="*/ 257442 h 257442"/>
                <a:gd name="connsiteX2" fmla="*/ 0 w 2377474"/>
                <a:gd name="connsiteY2" fmla="*/ 257442 h 257442"/>
                <a:gd name="connsiteX3" fmla="*/ 54721 w 2377474"/>
                <a:gd name="connsiteY3" fmla="*/ 0 h 257442"/>
                <a:gd name="connsiteX0" fmla="*/ 2545789 w 2545789"/>
                <a:gd name="connsiteY0" fmla="*/ 0 h 257442"/>
                <a:gd name="connsiteX1" fmla="*/ 2322753 w 2545789"/>
                <a:gd name="connsiteY1" fmla="*/ 257442 h 257442"/>
                <a:gd name="connsiteX2" fmla="*/ 0 w 2545789"/>
                <a:gd name="connsiteY2" fmla="*/ 257442 h 257442"/>
                <a:gd name="connsiteX3" fmla="*/ 54721 w 2545789"/>
                <a:gd name="connsiteY3" fmla="*/ 0 h 257442"/>
                <a:gd name="connsiteX0" fmla="*/ 2545789 w 2545789"/>
                <a:gd name="connsiteY0" fmla="*/ 0 h 257442"/>
                <a:gd name="connsiteX1" fmla="*/ 2491068 w 2545789"/>
                <a:gd name="connsiteY1" fmla="*/ 257442 h 257442"/>
                <a:gd name="connsiteX2" fmla="*/ 0 w 2545789"/>
                <a:gd name="connsiteY2" fmla="*/ 257442 h 257442"/>
                <a:gd name="connsiteX3" fmla="*/ 54721 w 2545789"/>
                <a:gd name="connsiteY3" fmla="*/ 0 h 257442"/>
                <a:gd name="connsiteX0" fmla="*/ 2545789 w 2545789"/>
                <a:gd name="connsiteY0" fmla="*/ 0 h 257442"/>
                <a:gd name="connsiteX1" fmla="*/ 2491068 w 2545789"/>
                <a:gd name="connsiteY1" fmla="*/ 257442 h 257442"/>
                <a:gd name="connsiteX2" fmla="*/ 0 w 2545789"/>
                <a:gd name="connsiteY2" fmla="*/ 257442 h 257442"/>
                <a:gd name="connsiteX3" fmla="*/ 54721 w 2545789"/>
                <a:gd name="connsiteY3" fmla="*/ 0 h 257442"/>
                <a:gd name="connsiteX0" fmla="*/ 2545789 w 2545789"/>
                <a:gd name="connsiteY0" fmla="*/ 0 h 257442"/>
                <a:gd name="connsiteX1" fmla="*/ 2491068 w 2545789"/>
                <a:gd name="connsiteY1" fmla="*/ 257442 h 257442"/>
                <a:gd name="connsiteX2" fmla="*/ 0 w 2545789"/>
                <a:gd name="connsiteY2" fmla="*/ 257442 h 257442"/>
                <a:gd name="connsiteX3" fmla="*/ 54721 w 2545789"/>
                <a:gd name="connsiteY3" fmla="*/ 0 h 257442"/>
                <a:gd name="connsiteX0" fmla="*/ 2807079 w 2807079"/>
                <a:gd name="connsiteY0" fmla="*/ 0 h 257442"/>
                <a:gd name="connsiteX1" fmla="*/ 2491068 w 2807079"/>
                <a:gd name="connsiteY1" fmla="*/ 257442 h 257442"/>
                <a:gd name="connsiteX2" fmla="*/ 0 w 2807079"/>
                <a:gd name="connsiteY2" fmla="*/ 257442 h 257442"/>
                <a:gd name="connsiteX3" fmla="*/ 54721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54721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54721 w 2807079"/>
                <a:gd name="connsiteY3" fmla="*/ 0 h 257442"/>
                <a:gd name="connsiteX0" fmla="*/ 2807079 w 2807079"/>
                <a:gd name="connsiteY0" fmla="*/ 0 h 257442"/>
                <a:gd name="connsiteX1" fmla="*/ 2752358 w 2807079"/>
                <a:gd name="connsiteY1" fmla="*/ 257442 h 257442"/>
                <a:gd name="connsiteX2" fmla="*/ 0 w 2807079"/>
                <a:gd name="connsiteY2" fmla="*/ 257442 h 257442"/>
                <a:gd name="connsiteX3" fmla="*/ 54721 w 2807079"/>
                <a:gd name="connsiteY3" fmla="*/ 0 h 257442"/>
                <a:gd name="connsiteX0" fmla="*/ 2975393 w 2975393"/>
                <a:gd name="connsiteY0" fmla="*/ 0 h 257442"/>
                <a:gd name="connsiteX1" fmla="*/ 2752358 w 2975393"/>
                <a:gd name="connsiteY1" fmla="*/ 257442 h 257442"/>
                <a:gd name="connsiteX2" fmla="*/ 0 w 2975393"/>
                <a:gd name="connsiteY2" fmla="*/ 257442 h 257442"/>
                <a:gd name="connsiteX3" fmla="*/ 54721 w 2975393"/>
                <a:gd name="connsiteY3" fmla="*/ 0 h 257442"/>
                <a:gd name="connsiteX0" fmla="*/ 2975393 w 2975393"/>
                <a:gd name="connsiteY0" fmla="*/ 0 h 257442"/>
                <a:gd name="connsiteX1" fmla="*/ 2920672 w 2975393"/>
                <a:gd name="connsiteY1" fmla="*/ 257442 h 257442"/>
                <a:gd name="connsiteX2" fmla="*/ 0 w 2975393"/>
                <a:gd name="connsiteY2" fmla="*/ 257442 h 257442"/>
                <a:gd name="connsiteX3" fmla="*/ 54721 w 2975393"/>
                <a:gd name="connsiteY3" fmla="*/ 0 h 257442"/>
                <a:gd name="connsiteX0" fmla="*/ 2975393 w 2975393"/>
                <a:gd name="connsiteY0" fmla="*/ 0 h 257442"/>
                <a:gd name="connsiteX1" fmla="*/ 2920672 w 2975393"/>
                <a:gd name="connsiteY1" fmla="*/ 257442 h 257442"/>
                <a:gd name="connsiteX2" fmla="*/ 0 w 2975393"/>
                <a:gd name="connsiteY2" fmla="*/ 257442 h 257442"/>
                <a:gd name="connsiteX3" fmla="*/ 54721 w 2975393"/>
                <a:gd name="connsiteY3" fmla="*/ 0 h 257442"/>
                <a:gd name="connsiteX0" fmla="*/ 2975393 w 2975393"/>
                <a:gd name="connsiteY0" fmla="*/ 0 h 257442"/>
                <a:gd name="connsiteX1" fmla="*/ 2920672 w 2975393"/>
                <a:gd name="connsiteY1" fmla="*/ 257442 h 257442"/>
                <a:gd name="connsiteX2" fmla="*/ 0 w 2975393"/>
                <a:gd name="connsiteY2" fmla="*/ 257442 h 257442"/>
                <a:gd name="connsiteX3" fmla="*/ 54721 w 2975393"/>
                <a:gd name="connsiteY3" fmla="*/ 0 h 257442"/>
                <a:gd name="connsiteX0" fmla="*/ 3143708 w 3143708"/>
                <a:gd name="connsiteY0" fmla="*/ 0 h 257442"/>
                <a:gd name="connsiteX1" fmla="*/ 2920672 w 3143708"/>
                <a:gd name="connsiteY1" fmla="*/ 257442 h 257442"/>
                <a:gd name="connsiteX2" fmla="*/ 0 w 3143708"/>
                <a:gd name="connsiteY2" fmla="*/ 257442 h 257442"/>
                <a:gd name="connsiteX3" fmla="*/ 54721 w 3143708"/>
                <a:gd name="connsiteY3" fmla="*/ 0 h 257442"/>
                <a:gd name="connsiteX0" fmla="*/ 3143708 w 3143708"/>
                <a:gd name="connsiteY0" fmla="*/ 0 h 257442"/>
                <a:gd name="connsiteX1" fmla="*/ 3088987 w 3143708"/>
                <a:gd name="connsiteY1" fmla="*/ 257442 h 257442"/>
                <a:gd name="connsiteX2" fmla="*/ 0 w 3143708"/>
                <a:gd name="connsiteY2" fmla="*/ 257442 h 257442"/>
                <a:gd name="connsiteX3" fmla="*/ 54721 w 3143708"/>
                <a:gd name="connsiteY3" fmla="*/ 0 h 257442"/>
                <a:gd name="connsiteX0" fmla="*/ 3143709 w 3143709"/>
                <a:gd name="connsiteY0" fmla="*/ 0 h 257442"/>
                <a:gd name="connsiteX1" fmla="*/ 3088988 w 3143709"/>
                <a:gd name="connsiteY1" fmla="*/ 257442 h 257442"/>
                <a:gd name="connsiteX2" fmla="*/ 0 w 3143709"/>
                <a:gd name="connsiteY2" fmla="*/ 257442 h 257442"/>
                <a:gd name="connsiteX3" fmla="*/ 54722 w 3143709"/>
                <a:gd name="connsiteY3" fmla="*/ 0 h 257442"/>
                <a:gd name="connsiteX0" fmla="*/ 3143709 w 3143709"/>
                <a:gd name="connsiteY0" fmla="*/ 0 h 257442"/>
                <a:gd name="connsiteX1" fmla="*/ 3088988 w 3143709"/>
                <a:gd name="connsiteY1" fmla="*/ 257442 h 257442"/>
                <a:gd name="connsiteX2" fmla="*/ 0 w 3143709"/>
                <a:gd name="connsiteY2" fmla="*/ 257442 h 257442"/>
                <a:gd name="connsiteX3" fmla="*/ 54722 w 3143709"/>
                <a:gd name="connsiteY3" fmla="*/ 0 h 257442"/>
                <a:gd name="connsiteX0" fmla="*/ 3321643 w 3321643"/>
                <a:gd name="connsiteY0" fmla="*/ 0 h 257442"/>
                <a:gd name="connsiteX1" fmla="*/ 3088988 w 3321643"/>
                <a:gd name="connsiteY1" fmla="*/ 257442 h 257442"/>
                <a:gd name="connsiteX2" fmla="*/ 0 w 3321643"/>
                <a:gd name="connsiteY2" fmla="*/ 257442 h 257442"/>
                <a:gd name="connsiteX3" fmla="*/ 54722 w 3321643"/>
                <a:gd name="connsiteY3" fmla="*/ 0 h 257442"/>
                <a:gd name="connsiteX0" fmla="*/ 3321643 w 3321643"/>
                <a:gd name="connsiteY0" fmla="*/ 0 h 257442"/>
                <a:gd name="connsiteX1" fmla="*/ 3266922 w 3321643"/>
                <a:gd name="connsiteY1" fmla="*/ 257442 h 257442"/>
                <a:gd name="connsiteX2" fmla="*/ 0 w 3321643"/>
                <a:gd name="connsiteY2" fmla="*/ 257442 h 257442"/>
                <a:gd name="connsiteX3" fmla="*/ 54722 w 3321643"/>
                <a:gd name="connsiteY3" fmla="*/ 0 h 257442"/>
                <a:gd name="connsiteX0" fmla="*/ 3321642 w 3321642"/>
                <a:gd name="connsiteY0" fmla="*/ 0 h 257442"/>
                <a:gd name="connsiteX1" fmla="*/ 3266921 w 3321642"/>
                <a:gd name="connsiteY1" fmla="*/ 257442 h 257442"/>
                <a:gd name="connsiteX2" fmla="*/ 0 w 3321642"/>
                <a:gd name="connsiteY2" fmla="*/ 257442 h 257442"/>
                <a:gd name="connsiteX3" fmla="*/ 54721 w 3321642"/>
                <a:gd name="connsiteY3" fmla="*/ 0 h 257442"/>
                <a:gd name="connsiteX0" fmla="*/ 3321642 w 3321642"/>
                <a:gd name="connsiteY0" fmla="*/ 0 h 257442"/>
                <a:gd name="connsiteX1" fmla="*/ 3266921 w 3321642"/>
                <a:gd name="connsiteY1" fmla="*/ 257442 h 257442"/>
                <a:gd name="connsiteX2" fmla="*/ 0 w 3321642"/>
                <a:gd name="connsiteY2" fmla="*/ 257442 h 257442"/>
                <a:gd name="connsiteX3" fmla="*/ 54720 w 3321642"/>
                <a:gd name="connsiteY3" fmla="*/ 0 h 257442"/>
                <a:gd name="connsiteX0" fmla="*/ 3626212 w 3626212"/>
                <a:gd name="connsiteY0" fmla="*/ 0 h 257442"/>
                <a:gd name="connsiteX1" fmla="*/ 3266921 w 3626212"/>
                <a:gd name="connsiteY1" fmla="*/ 257442 h 257442"/>
                <a:gd name="connsiteX2" fmla="*/ 0 w 3626212"/>
                <a:gd name="connsiteY2" fmla="*/ 257442 h 257442"/>
                <a:gd name="connsiteX3" fmla="*/ 54720 w 3626212"/>
                <a:gd name="connsiteY3" fmla="*/ 0 h 257442"/>
                <a:gd name="connsiteX0" fmla="*/ 3626212 w 3626212"/>
                <a:gd name="connsiteY0" fmla="*/ 0 h 257442"/>
                <a:gd name="connsiteX1" fmla="*/ 3571491 w 3626212"/>
                <a:gd name="connsiteY1" fmla="*/ 257442 h 257442"/>
                <a:gd name="connsiteX2" fmla="*/ 0 w 3626212"/>
                <a:gd name="connsiteY2" fmla="*/ 257442 h 257442"/>
                <a:gd name="connsiteX3" fmla="*/ 54720 w 3626212"/>
                <a:gd name="connsiteY3" fmla="*/ 0 h 257442"/>
                <a:gd name="connsiteX0" fmla="*/ 3626213 w 3626213"/>
                <a:gd name="connsiteY0" fmla="*/ 0 h 257442"/>
                <a:gd name="connsiteX1" fmla="*/ 3571492 w 3626213"/>
                <a:gd name="connsiteY1" fmla="*/ 257442 h 257442"/>
                <a:gd name="connsiteX2" fmla="*/ 0 w 3626213"/>
                <a:gd name="connsiteY2" fmla="*/ 257442 h 257442"/>
                <a:gd name="connsiteX3" fmla="*/ 54721 w 3626213"/>
                <a:gd name="connsiteY3" fmla="*/ 0 h 257442"/>
                <a:gd name="connsiteX0" fmla="*/ 3626213 w 3626213"/>
                <a:gd name="connsiteY0" fmla="*/ 0 h 257442"/>
                <a:gd name="connsiteX1" fmla="*/ 3571492 w 3626213"/>
                <a:gd name="connsiteY1" fmla="*/ 257442 h 257442"/>
                <a:gd name="connsiteX2" fmla="*/ 0 w 3626213"/>
                <a:gd name="connsiteY2" fmla="*/ 257442 h 257442"/>
                <a:gd name="connsiteX3" fmla="*/ 54722 w 3626213"/>
                <a:gd name="connsiteY3" fmla="*/ 0 h 257442"/>
                <a:gd name="connsiteX0" fmla="*/ 3812162 w 3812162"/>
                <a:gd name="connsiteY0" fmla="*/ 0 h 257442"/>
                <a:gd name="connsiteX1" fmla="*/ 3571492 w 3812162"/>
                <a:gd name="connsiteY1" fmla="*/ 257442 h 257442"/>
                <a:gd name="connsiteX2" fmla="*/ 0 w 3812162"/>
                <a:gd name="connsiteY2" fmla="*/ 257442 h 257442"/>
                <a:gd name="connsiteX3" fmla="*/ 54722 w 3812162"/>
                <a:gd name="connsiteY3" fmla="*/ 0 h 257442"/>
                <a:gd name="connsiteX0" fmla="*/ 3812162 w 3812162"/>
                <a:gd name="connsiteY0" fmla="*/ 0 h 257442"/>
                <a:gd name="connsiteX1" fmla="*/ 3757440 w 3812162"/>
                <a:gd name="connsiteY1" fmla="*/ 257442 h 257442"/>
                <a:gd name="connsiteX2" fmla="*/ 0 w 3812162"/>
                <a:gd name="connsiteY2" fmla="*/ 257442 h 257442"/>
                <a:gd name="connsiteX3" fmla="*/ 54722 w 3812162"/>
                <a:gd name="connsiteY3" fmla="*/ 0 h 257442"/>
                <a:gd name="connsiteX0" fmla="*/ 3812162 w 3812162"/>
                <a:gd name="connsiteY0" fmla="*/ 0 h 257442"/>
                <a:gd name="connsiteX1" fmla="*/ 3757440 w 3812162"/>
                <a:gd name="connsiteY1" fmla="*/ 257442 h 257442"/>
                <a:gd name="connsiteX2" fmla="*/ 0 w 3812162"/>
                <a:gd name="connsiteY2" fmla="*/ 257442 h 257442"/>
                <a:gd name="connsiteX3" fmla="*/ 54722 w 3812162"/>
                <a:gd name="connsiteY3" fmla="*/ 0 h 257442"/>
                <a:gd name="connsiteX0" fmla="*/ 3812162 w 3812162"/>
                <a:gd name="connsiteY0" fmla="*/ 0 h 257442"/>
                <a:gd name="connsiteX1" fmla="*/ 3757440 w 3812162"/>
                <a:gd name="connsiteY1" fmla="*/ 257442 h 257442"/>
                <a:gd name="connsiteX2" fmla="*/ 0 w 3812162"/>
                <a:gd name="connsiteY2" fmla="*/ 257442 h 257442"/>
                <a:gd name="connsiteX3" fmla="*/ 54721 w 3812162"/>
                <a:gd name="connsiteY3" fmla="*/ 0 h 257442"/>
                <a:gd name="connsiteX0" fmla="*/ 3972460 w 3972460"/>
                <a:gd name="connsiteY0" fmla="*/ 0 h 257442"/>
                <a:gd name="connsiteX1" fmla="*/ 3757440 w 3972460"/>
                <a:gd name="connsiteY1" fmla="*/ 257442 h 257442"/>
                <a:gd name="connsiteX2" fmla="*/ 0 w 3972460"/>
                <a:gd name="connsiteY2" fmla="*/ 257442 h 257442"/>
                <a:gd name="connsiteX3" fmla="*/ 54721 w 3972460"/>
                <a:gd name="connsiteY3" fmla="*/ 0 h 257442"/>
                <a:gd name="connsiteX0" fmla="*/ 3972460 w 3972460"/>
                <a:gd name="connsiteY0" fmla="*/ 0 h 257442"/>
                <a:gd name="connsiteX1" fmla="*/ 3917739 w 3972460"/>
                <a:gd name="connsiteY1" fmla="*/ 257442 h 257442"/>
                <a:gd name="connsiteX2" fmla="*/ 0 w 3972460"/>
                <a:gd name="connsiteY2" fmla="*/ 257442 h 257442"/>
                <a:gd name="connsiteX3" fmla="*/ 54721 w 3972460"/>
                <a:gd name="connsiteY3" fmla="*/ 0 h 257442"/>
                <a:gd name="connsiteX0" fmla="*/ 3972460 w 3972460"/>
                <a:gd name="connsiteY0" fmla="*/ 0 h 257442"/>
                <a:gd name="connsiteX1" fmla="*/ 3917739 w 3972460"/>
                <a:gd name="connsiteY1" fmla="*/ 257442 h 257442"/>
                <a:gd name="connsiteX2" fmla="*/ 0 w 3972460"/>
                <a:gd name="connsiteY2" fmla="*/ 257442 h 257442"/>
                <a:gd name="connsiteX3" fmla="*/ 54721 w 3972460"/>
                <a:gd name="connsiteY3" fmla="*/ 0 h 257442"/>
                <a:gd name="connsiteX0" fmla="*/ 3972460 w 3972460"/>
                <a:gd name="connsiteY0" fmla="*/ 0 h 257442"/>
                <a:gd name="connsiteX1" fmla="*/ 3917739 w 3972460"/>
                <a:gd name="connsiteY1" fmla="*/ 257442 h 257442"/>
                <a:gd name="connsiteX2" fmla="*/ 0 w 3972460"/>
                <a:gd name="connsiteY2" fmla="*/ 257442 h 257442"/>
                <a:gd name="connsiteX3" fmla="*/ 54721 w 3972460"/>
                <a:gd name="connsiteY3" fmla="*/ 0 h 257442"/>
                <a:gd name="connsiteX0" fmla="*/ 4140777 w 4140777"/>
                <a:gd name="connsiteY0" fmla="*/ 0 h 257442"/>
                <a:gd name="connsiteX1" fmla="*/ 3917739 w 4140777"/>
                <a:gd name="connsiteY1" fmla="*/ 257442 h 257442"/>
                <a:gd name="connsiteX2" fmla="*/ 0 w 4140777"/>
                <a:gd name="connsiteY2" fmla="*/ 257442 h 257442"/>
                <a:gd name="connsiteX3" fmla="*/ 54721 w 4140777"/>
                <a:gd name="connsiteY3" fmla="*/ 0 h 257442"/>
                <a:gd name="connsiteX0" fmla="*/ 4140777 w 4140777"/>
                <a:gd name="connsiteY0" fmla="*/ 0 h 257442"/>
                <a:gd name="connsiteX1" fmla="*/ 4086056 w 4140777"/>
                <a:gd name="connsiteY1" fmla="*/ 257442 h 257442"/>
                <a:gd name="connsiteX2" fmla="*/ 0 w 4140777"/>
                <a:gd name="connsiteY2" fmla="*/ 257442 h 257442"/>
                <a:gd name="connsiteX3" fmla="*/ 54721 w 4140777"/>
                <a:gd name="connsiteY3" fmla="*/ 0 h 257442"/>
                <a:gd name="connsiteX0" fmla="*/ 4140777 w 4140777"/>
                <a:gd name="connsiteY0" fmla="*/ 0 h 257442"/>
                <a:gd name="connsiteX1" fmla="*/ 4086056 w 4140777"/>
                <a:gd name="connsiteY1" fmla="*/ 257442 h 257442"/>
                <a:gd name="connsiteX2" fmla="*/ 0 w 4140777"/>
                <a:gd name="connsiteY2" fmla="*/ 257442 h 257442"/>
                <a:gd name="connsiteX3" fmla="*/ 54721 w 4140777"/>
                <a:gd name="connsiteY3" fmla="*/ 0 h 257442"/>
                <a:gd name="connsiteX0" fmla="*/ 4140777 w 4140777"/>
                <a:gd name="connsiteY0" fmla="*/ 0 h 257442"/>
                <a:gd name="connsiteX1" fmla="*/ 4086056 w 4140777"/>
                <a:gd name="connsiteY1" fmla="*/ 257442 h 257442"/>
                <a:gd name="connsiteX2" fmla="*/ 0 w 4140777"/>
                <a:gd name="connsiteY2" fmla="*/ 257442 h 257442"/>
                <a:gd name="connsiteX3" fmla="*/ 54721 w 4140777"/>
                <a:gd name="connsiteY3" fmla="*/ 0 h 257442"/>
                <a:gd name="connsiteX0" fmla="*/ 950801 w 4086056"/>
                <a:gd name="connsiteY0" fmla="*/ 0 h 257442"/>
                <a:gd name="connsiteX1" fmla="*/ 4086056 w 4086056"/>
                <a:gd name="connsiteY1" fmla="*/ 257442 h 257442"/>
                <a:gd name="connsiteX2" fmla="*/ 0 w 4086056"/>
                <a:gd name="connsiteY2" fmla="*/ 257442 h 257442"/>
                <a:gd name="connsiteX3" fmla="*/ 54721 w 4086056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5472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5472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5472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54721 w 1119116"/>
                <a:gd name="connsiteY3" fmla="*/ 0 h 257442"/>
                <a:gd name="connsiteX0" fmla="*/ 1297050 w 1297050"/>
                <a:gd name="connsiteY0" fmla="*/ 0 h 257442"/>
                <a:gd name="connsiteX1" fmla="*/ 1064395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297050 w 1297050"/>
                <a:gd name="connsiteY0" fmla="*/ 0 h 257442"/>
                <a:gd name="connsiteX1" fmla="*/ 1242329 w 1297050"/>
                <a:gd name="connsiteY1" fmla="*/ 257442 h 257442"/>
                <a:gd name="connsiteX2" fmla="*/ 0 w 1297050"/>
                <a:gd name="connsiteY2" fmla="*/ 257442 h 257442"/>
                <a:gd name="connsiteX3" fmla="*/ 54721 w 1297050"/>
                <a:gd name="connsiteY3" fmla="*/ 0 h 257442"/>
                <a:gd name="connsiteX0" fmla="*/ 1575972 w 1575972"/>
                <a:gd name="connsiteY0" fmla="*/ 0 h 257442"/>
                <a:gd name="connsiteX1" fmla="*/ 1242329 w 1575972"/>
                <a:gd name="connsiteY1" fmla="*/ 257442 h 257442"/>
                <a:gd name="connsiteX2" fmla="*/ 0 w 1575972"/>
                <a:gd name="connsiteY2" fmla="*/ 257442 h 257442"/>
                <a:gd name="connsiteX3" fmla="*/ 54721 w 1575972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54721 w 1575972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54721 w 1575972"/>
                <a:gd name="connsiteY3" fmla="*/ 0 h 257442"/>
                <a:gd name="connsiteX0" fmla="*/ 1575972 w 1575972"/>
                <a:gd name="connsiteY0" fmla="*/ 0 h 257442"/>
                <a:gd name="connsiteX1" fmla="*/ 1521251 w 1575972"/>
                <a:gd name="connsiteY1" fmla="*/ 257442 h 257442"/>
                <a:gd name="connsiteX2" fmla="*/ 0 w 1575972"/>
                <a:gd name="connsiteY2" fmla="*/ 257442 h 257442"/>
                <a:gd name="connsiteX3" fmla="*/ 54721 w 1575972"/>
                <a:gd name="connsiteY3" fmla="*/ 0 h 257442"/>
                <a:gd name="connsiteX0" fmla="*/ 1744287 w 1744287"/>
                <a:gd name="connsiteY0" fmla="*/ 0 h 257442"/>
                <a:gd name="connsiteX1" fmla="*/ 1521251 w 1744287"/>
                <a:gd name="connsiteY1" fmla="*/ 257442 h 257442"/>
                <a:gd name="connsiteX2" fmla="*/ 0 w 1744287"/>
                <a:gd name="connsiteY2" fmla="*/ 257442 h 257442"/>
                <a:gd name="connsiteX3" fmla="*/ 54721 w 1744287"/>
                <a:gd name="connsiteY3" fmla="*/ 0 h 257442"/>
                <a:gd name="connsiteX0" fmla="*/ 1744287 w 1744287"/>
                <a:gd name="connsiteY0" fmla="*/ 0 h 257442"/>
                <a:gd name="connsiteX1" fmla="*/ 1689566 w 1744287"/>
                <a:gd name="connsiteY1" fmla="*/ 257442 h 257442"/>
                <a:gd name="connsiteX2" fmla="*/ 0 w 1744287"/>
                <a:gd name="connsiteY2" fmla="*/ 257442 h 257442"/>
                <a:gd name="connsiteX3" fmla="*/ 54721 w 1744287"/>
                <a:gd name="connsiteY3" fmla="*/ 0 h 257442"/>
                <a:gd name="connsiteX0" fmla="*/ 1744287 w 1744287"/>
                <a:gd name="connsiteY0" fmla="*/ 0 h 257442"/>
                <a:gd name="connsiteX1" fmla="*/ 1689566 w 1744287"/>
                <a:gd name="connsiteY1" fmla="*/ 257442 h 257442"/>
                <a:gd name="connsiteX2" fmla="*/ 0 w 1744287"/>
                <a:gd name="connsiteY2" fmla="*/ 257442 h 257442"/>
                <a:gd name="connsiteX3" fmla="*/ 54721 w 1744287"/>
                <a:gd name="connsiteY3" fmla="*/ 0 h 257442"/>
                <a:gd name="connsiteX0" fmla="*/ 1744287 w 1744287"/>
                <a:gd name="connsiteY0" fmla="*/ 0 h 257442"/>
                <a:gd name="connsiteX1" fmla="*/ 1689566 w 1744287"/>
                <a:gd name="connsiteY1" fmla="*/ 257442 h 257442"/>
                <a:gd name="connsiteX2" fmla="*/ 0 w 1744287"/>
                <a:gd name="connsiteY2" fmla="*/ 257442 h 257442"/>
                <a:gd name="connsiteX3" fmla="*/ 54721 w 1744287"/>
                <a:gd name="connsiteY3" fmla="*/ 0 h 257442"/>
                <a:gd name="connsiteX0" fmla="*/ 1946265 w 1946265"/>
                <a:gd name="connsiteY0" fmla="*/ 0 h 257442"/>
                <a:gd name="connsiteX1" fmla="*/ 1689566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  <a:gd name="connsiteX0" fmla="*/ 1946265 w 1946265"/>
                <a:gd name="connsiteY0" fmla="*/ 0 h 257442"/>
                <a:gd name="connsiteX1" fmla="*/ 1891544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  <a:gd name="connsiteX0" fmla="*/ 1946265 w 1946265"/>
                <a:gd name="connsiteY0" fmla="*/ 0 h 257442"/>
                <a:gd name="connsiteX1" fmla="*/ 1891544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  <a:gd name="connsiteX0" fmla="*/ 1946265 w 1946265"/>
                <a:gd name="connsiteY0" fmla="*/ 0 h 257442"/>
                <a:gd name="connsiteX1" fmla="*/ 1891544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  <a:gd name="connsiteX0" fmla="*/ 2106566 w 2106566"/>
                <a:gd name="connsiteY0" fmla="*/ 0 h 257442"/>
                <a:gd name="connsiteX1" fmla="*/ 1891544 w 2106566"/>
                <a:gd name="connsiteY1" fmla="*/ 257442 h 257442"/>
                <a:gd name="connsiteX2" fmla="*/ 0 w 2106566"/>
                <a:gd name="connsiteY2" fmla="*/ 257442 h 257442"/>
                <a:gd name="connsiteX3" fmla="*/ 54721 w 2106566"/>
                <a:gd name="connsiteY3" fmla="*/ 0 h 257442"/>
                <a:gd name="connsiteX0" fmla="*/ 2106566 w 2106566"/>
                <a:gd name="connsiteY0" fmla="*/ 0 h 257442"/>
                <a:gd name="connsiteX1" fmla="*/ 2051844 w 2106566"/>
                <a:gd name="connsiteY1" fmla="*/ 257442 h 257442"/>
                <a:gd name="connsiteX2" fmla="*/ 0 w 2106566"/>
                <a:gd name="connsiteY2" fmla="*/ 257442 h 257442"/>
                <a:gd name="connsiteX3" fmla="*/ 54721 w 2106566"/>
                <a:gd name="connsiteY3" fmla="*/ 0 h 257442"/>
                <a:gd name="connsiteX0" fmla="*/ 2106567 w 2106567"/>
                <a:gd name="connsiteY0" fmla="*/ 0 h 257442"/>
                <a:gd name="connsiteX1" fmla="*/ 2051845 w 2106567"/>
                <a:gd name="connsiteY1" fmla="*/ 257442 h 257442"/>
                <a:gd name="connsiteX2" fmla="*/ 0 w 2106567"/>
                <a:gd name="connsiteY2" fmla="*/ 257442 h 257442"/>
                <a:gd name="connsiteX3" fmla="*/ 54722 w 2106567"/>
                <a:gd name="connsiteY3" fmla="*/ 0 h 257442"/>
                <a:gd name="connsiteX0" fmla="*/ 2106567 w 2106567"/>
                <a:gd name="connsiteY0" fmla="*/ 0 h 257442"/>
                <a:gd name="connsiteX1" fmla="*/ 2051845 w 2106567"/>
                <a:gd name="connsiteY1" fmla="*/ 257442 h 257442"/>
                <a:gd name="connsiteX2" fmla="*/ 0 w 2106567"/>
                <a:gd name="connsiteY2" fmla="*/ 257442 h 257442"/>
                <a:gd name="connsiteX3" fmla="*/ 54722 w 2106567"/>
                <a:gd name="connsiteY3" fmla="*/ 0 h 257442"/>
                <a:gd name="connsiteX0" fmla="*/ 2266867 w 2266867"/>
                <a:gd name="connsiteY0" fmla="*/ 0 h 257442"/>
                <a:gd name="connsiteX1" fmla="*/ 2051845 w 2266867"/>
                <a:gd name="connsiteY1" fmla="*/ 257442 h 257442"/>
                <a:gd name="connsiteX2" fmla="*/ 0 w 2266867"/>
                <a:gd name="connsiteY2" fmla="*/ 257442 h 257442"/>
                <a:gd name="connsiteX3" fmla="*/ 54722 w 2266867"/>
                <a:gd name="connsiteY3" fmla="*/ 0 h 257442"/>
                <a:gd name="connsiteX0" fmla="*/ 2266867 w 2266867"/>
                <a:gd name="connsiteY0" fmla="*/ 0 h 257442"/>
                <a:gd name="connsiteX1" fmla="*/ 2212146 w 2266867"/>
                <a:gd name="connsiteY1" fmla="*/ 257442 h 257442"/>
                <a:gd name="connsiteX2" fmla="*/ 0 w 2266867"/>
                <a:gd name="connsiteY2" fmla="*/ 257442 h 257442"/>
                <a:gd name="connsiteX3" fmla="*/ 54722 w 2266867"/>
                <a:gd name="connsiteY3" fmla="*/ 0 h 257442"/>
                <a:gd name="connsiteX0" fmla="*/ 2266866 w 2266866"/>
                <a:gd name="connsiteY0" fmla="*/ 0 h 257442"/>
                <a:gd name="connsiteX1" fmla="*/ 2212145 w 2266866"/>
                <a:gd name="connsiteY1" fmla="*/ 257442 h 257442"/>
                <a:gd name="connsiteX2" fmla="*/ 0 w 2266866"/>
                <a:gd name="connsiteY2" fmla="*/ 257442 h 257442"/>
                <a:gd name="connsiteX3" fmla="*/ 54721 w 2266866"/>
                <a:gd name="connsiteY3" fmla="*/ 0 h 257442"/>
                <a:gd name="connsiteX0" fmla="*/ 2266866 w 2266866"/>
                <a:gd name="connsiteY0" fmla="*/ 0 h 257442"/>
                <a:gd name="connsiteX1" fmla="*/ 2212145 w 2266866"/>
                <a:gd name="connsiteY1" fmla="*/ 257442 h 257442"/>
                <a:gd name="connsiteX2" fmla="*/ 0 w 2266866"/>
                <a:gd name="connsiteY2" fmla="*/ 257442 h 257442"/>
                <a:gd name="connsiteX3" fmla="*/ 54720 w 2266866"/>
                <a:gd name="connsiteY3" fmla="*/ 0 h 257442"/>
                <a:gd name="connsiteX0" fmla="*/ 2435181 w 2435181"/>
                <a:gd name="connsiteY0" fmla="*/ 0 h 257442"/>
                <a:gd name="connsiteX1" fmla="*/ 2212145 w 2435181"/>
                <a:gd name="connsiteY1" fmla="*/ 257442 h 257442"/>
                <a:gd name="connsiteX2" fmla="*/ 0 w 2435181"/>
                <a:gd name="connsiteY2" fmla="*/ 257442 h 257442"/>
                <a:gd name="connsiteX3" fmla="*/ 54720 w 2435181"/>
                <a:gd name="connsiteY3" fmla="*/ 0 h 257442"/>
                <a:gd name="connsiteX0" fmla="*/ 2435181 w 2435181"/>
                <a:gd name="connsiteY0" fmla="*/ 0 h 257442"/>
                <a:gd name="connsiteX1" fmla="*/ 2380460 w 2435181"/>
                <a:gd name="connsiteY1" fmla="*/ 257442 h 257442"/>
                <a:gd name="connsiteX2" fmla="*/ 0 w 2435181"/>
                <a:gd name="connsiteY2" fmla="*/ 257442 h 257442"/>
                <a:gd name="connsiteX3" fmla="*/ 54720 w 2435181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54721 w 2435182"/>
                <a:gd name="connsiteY3" fmla="*/ 0 h 257442"/>
                <a:gd name="connsiteX0" fmla="*/ 2435182 w 2435182"/>
                <a:gd name="connsiteY0" fmla="*/ 0 h 257442"/>
                <a:gd name="connsiteX1" fmla="*/ 2380461 w 2435182"/>
                <a:gd name="connsiteY1" fmla="*/ 257442 h 257442"/>
                <a:gd name="connsiteX2" fmla="*/ 0 w 2435182"/>
                <a:gd name="connsiteY2" fmla="*/ 257442 h 257442"/>
                <a:gd name="connsiteX3" fmla="*/ 54721 w 2435182"/>
                <a:gd name="connsiteY3" fmla="*/ 0 h 257442"/>
                <a:gd name="connsiteX0" fmla="*/ 2266866 w 2380461"/>
                <a:gd name="connsiteY0" fmla="*/ 0 h 257442"/>
                <a:gd name="connsiteX1" fmla="*/ 2380461 w 2380461"/>
                <a:gd name="connsiteY1" fmla="*/ 257442 h 257442"/>
                <a:gd name="connsiteX2" fmla="*/ 0 w 2380461"/>
                <a:gd name="connsiteY2" fmla="*/ 257442 h 257442"/>
                <a:gd name="connsiteX3" fmla="*/ 54721 w 2380461"/>
                <a:gd name="connsiteY3" fmla="*/ 0 h 257442"/>
                <a:gd name="connsiteX0" fmla="*/ 2266866 w 2266866"/>
                <a:gd name="connsiteY0" fmla="*/ 0 h 257442"/>
                <a:gd name="connsiteX1" fmla="*/ 2212146 w 2266866"/>
                <a:gd name="connsiteY1" fmla="*/ 257442 h 257442"/>
                <a:gd name="connsiteX2" fmla="*/ 0 w 2266866"/>
                <a:gd name="connsiteY2" fmla="*/ 257442 h 257442"/>
                <a:gd name="connsiteX3" fmla="*/ 54721 w 2266866"/>
                <a:gd name="connsiteY3" fmla="*/ 0 h 257442"/>
                <a:gd name="connsiteX0" fmla="*/ 2266865 w 2266865"/>
                <a:gd name="connsiteY0" fmla="*/ 0 h 257442"/>
                <a:gd name="connsiteX1" fmla="*/ 2212145 w 2266865"/>
                <a:gd name="connsiteY1" fmla="*/ 257442 h 257442"/>
                <a:gd name="connsiteX2" fmla="*/ 0 w 2266865"/>
                <a:gd name="connsiteY2" fmla="*/ 257442 h 257442"/>
                <a:gd name="connsiteX3" fmla="*/ 54720 w 2266865"/>
                <a:gd name="connsiteY3" fmla="*/ 0 h 257442"/>
                <a:gd name="connsiteX0" fmla="*/ 2266865 w 2266865"/>
                <a:gd name="connsiteY0" fmla="*/ 0 h 257442"/>
                <a:gd name="connsiteX1" fmla="*/ 2212145 w 2266865"/>
                <a:gd name="connsiteY1" fmla="*/ 257442 h 257442"/>
                <a:gd name="connsiteX2" fmla="*/ 0 w 2266865"/>
                <a:gd name="connsiteY2" fmla="*/ 257442 h 257442"/>
                <a:gd name="connsiteX3" fmla="*/ 54721 w 2266865"/>
                <a:gd name="connsiteY3" fmla="*/ 0 h 257442"/>
                <a:gd name="connsiteX0" fmla="*/ 2106566 w 2212145"/>
                <a:gd name="connsiteY0" fmla="*/ 0 h 257442"/>
                <a:gd name="connsiteX1" fmla="*/ 2212145 w 2212145"/>
                <a:gd name="connsiteY1" fmla="*/ 257442 h 257442"/>
                <a:gd name="connsiteX2" fmla="*/ 0 w 2212145"/>
                <a:gd name="connsiteY2" fmla="*/ 257442 h 257442"/>
                <a:gd name="connsiteX3" fmla="*/ 54721 w 2212145"/>
                <a:gd name="connsiteY3" fmla="*/ 0 h 257442"/>
                <a:gd name="connsiteX0" fmla="*/ 2106566 w 2106566"/>
                <a:gd name="connsiteY0" fmla="*/ 0 h 257442"/>
                <a:gd name="connsiteX1" fmla="*/ 2051845 w 2106566"/>
                <a:gd name="connsiteY1" fmla="*/ 257442 h 257442"/>
                <a:gd name="connsiteX2" fmla="*/ 0 w 2106566"/>
                <a:gd name="connsiteY2" fmla="*/ 257442 h 257442"/>
                <a:gd name="connsiteX3" fmla="*/ 54721 w 2106566"/>
                <a:gd name="connsiteY3" fmla="*/ 0 h 257442"/>
                <a:gd name="connsiteX0" fmla="*/ 2106566 w 2106566"/>
                <a:gd name="connsiteY0" fmla="*/ 0 h 257442"/>
                <a:gd name="connsiteX1" fmla="*/ 2051845 w 2106566"/>
                <a:gd name="connsiteY1" fmla="*/ 257442 h 257442"/>
                <a:gd name="connsiteX2" fmla="*/ 0 w 2106566"/>
                <a:gd name="connsiteY2" fmla="*/ 257442 h 257442"/>
                <a:gd name="connsiteX3" fmla="*/ 54721 w 2106566"/>
                <a:gd name="connsiteY3" fmla="*/ 0 h 257442"/>
                <a:gd name="connsiteX0" fmla="*/ 2106566 w 2106566"/>
                <a:gd name="connsiteY0" fmla="*/ 0 h 257442"/>
                <a:gd name="connsiteX1" fmla="*/ 2051845 w 2106566"/>
                <a:gd name="connsiteY1" fmla="*/ 257442 h 257442"/>
                <a:gd name="connsiteX2" fmla="*/ 0 w 2106566"/>
                <a:gd name="connsiteY2" fmla="*/ 257442 h 257442"/>
                <a:gd name="connsiteX3" fmla="*/ 54721 w 2106566"/>
                <a:gd name="connsiteY3" fmla="*/ 0 h 257442"/>
                <a:gd name="connsiteX0" fmla="*/ 1946265 w 2051845"/>
                <a:gd name="connsiteY0" fmla="*/ 0 h 257442"/>
                <a:gd name="connsiteX1" fmla="*/ 2051845 w 2051845"/>
                <a:gd name="connsiteY1" fmla="*/ 257442 h 257442"/>
                <a:gd name="connsiteX2" fmla="*/ 0 w 2051845"/>
                <a:gd name="connsiteY2" fmla="*/ 257442 h 257442"/>
                <a:gd name="connsiteX3" fmla="*/ 54721 w 2051845"/>
                <a:gd name="connsiteY3" fmla="*/ 0 h 257442"/>
                <a:gd name="connsiteX0" fmla="*/ 1946265 w 1946265"/>
                <a:gd name="connsiteY0" fmla="*/ 0 h 257442"/>
                <a:gd name="connsiteX1" fmla="*/ 1891545 w 1946265"/>
                <a:gd name="connsiteY1" fmla="*/ 257442 h 257442"/>
                <a:gd name="connsiteX2" fmla="*/ 0 w 1946265"/>
                <a:gd name="connsiteY2" fmla="*/ 257442 h 257442"/>
                <a:gd name="connsiteX3" fmla="*/ 54721 w 1946265"/>
                <a:gd name="connsiteY3" fmla="*/ 0 h 257442"/>
                <a:gd name="connsiteX0" fmla="*/ 1946264 w 1946264"/>
                <a:gd name="connsiteY0" fmla="*/ 0 h 257442"/>
                <a:gd name="connsiteX1" fmla="*/ 1891544 w 1946264"/>
                <a:gd name="connsiteY1" fmla="*/ 257442 h 257442"/>
                <a:gd name="connsiteX2" fmla="*/ 0 w 1946264"/>
                <a:gd name="connsiteY2" fmla="*/ 257442 h 257442"/>
                <a:gd name="connsiteX3" fmla="*/ 54720 w 1946264"/>
                <a:gd name="connsiteY3" fmla="*/ 0 h 257442"/>
                <a:gd name="connsiteX0" fmla="*/ 1946264 w 1946264"/>
                <a:gd name="connsiteY0" fmla="*/ 0 h 257442"/>
                <a:gd name="connsiteX1" fmla="*/ 1891544 w 1946264"/>
                <a:gd name="connsiteY1" fmla="*/ 257442 h 257442"/>
                <a:gd name="connsiteX2" fmla="*/ 0 w 1946264"/>
                <a:gd name="connsiteY2" fmla="*/ 257442 h 257442"/>
                <a:gd name="connsiteX3" fmla="*/ 54720 w 1946264"/>
                <a:gd name="connsiteY3" fmla="*/ 0 h 257442"/>
                <a:gd name="connsiteX0" fmla="*/ 2114580 w 2114580"/>
                <a:gd name="connsiteY0" fmla="*/ 0 h 257442"/>
                <a:gd name="connsiteX1" fmla="*/ 1891544 w 2114580"/>
                <a:gd name="connsiteY1" fmla="*/ 257442 h 257442"/>
                <a:gd name="connsiteX2" fmla="*/ 0 w 2114580"/>
                <a:gd name="connsiteY2" fmla="*/ 257442 h 257442"/>
                <a:gd name="connsiteX3" fmla="*/ 54720 w 2114580"/>
                <a:gd name="connsiteY3" fmla="*/ 0 h 257442"/>
                <a:gd name="connsiteX0" fmla="*/ 2114580 w 2114580"/>
                <a:gd name="connsiteY0" fmla="*/ 0 h 257442"/>
                <a:gd name="connsiteX1" fmla="*/ 2059859 w 2114580"/>
                <a:gd name="connsiteY1" fmla="*/ 257442 h 257442"/>
                <a:gd name="connsiteX2" fmla="*/ 0 w 2114580"/>
                <a:gd name="connsiteY2" fmla="*/ 257442 h 257442"/>
                <a:gd name="connsiteX3" fmla="*/ 54720 w 2114580"/>
                <a:gd name="connsiteY3" fmla="*/ 0 h 257442"/>
                <a:gd name="connsiteX0" fmla="*/ 2114581 w 2114581"/>
                <a:gd name="connsiteY0" fmla="*/ 0 h 257442"/>
                <a:gd name="connsiteX1" fmla="*/ 2059860 w 2114581"/>
                <a:gd name="connsiteY1" fmla="*/ 257442 h 257442"/>
                <a:gd name="connsiteX2" fmla="*/ 0 w 2114581"/>
                <a:gd name="connsiteY2" fmla="*/ 257442 h 257442"/>
                <a:gd name="connsiteX3" fmla="*/ 54721 w 2114581"/>
                <a:gd name="connsiteY3" fmla="*/ 0 h 257442"/>
                <a:gd name="connsiteX0" fmla="*/ 2114581 w 2114581"/>
                <a:gd name="connsiteY0" fmla="*/ 0 h 257442"/>
                <a:gd name="connsiteX1" fmla="*/ 2059860 w 2114581"/>
                <a:gd name="connsiteY1" fmla="*/ 257442 h 257442"/>
                <a:gd name="connsiteX2" fmla="*/ 0 w 2114581"/>
                <a:gd name="connsiteY2" fmla="*/ 257442 h 257442"/>
                <a:gd name="connsiteX3" fmla="*/ 54722 w 2114581"/>
                <a:gd name="connsiteY3" fmla="*/ 0 h 257442"/>
                <a:gd name="connsiteX0" fmla="*/ 2274883 w 2274883"/>
                <a:gd name="connsiteY0" fmla="*/ 0 h 257442"/>
                <a:gd name="connsiteX1" fmla="*/ 2059860 w 2274883"/>
                <a:gd name="connsiteY1" fmla="*/ 257442 h 257442"/>
                <a:gd name="connsiteX2" fmla="*/ 0 w 2274883"/>
                <a:gd name="connsiteY2" fmla="*/ 257442 h 257442"/>
                <a:gd name="connsiteX3" fmla="*/ 54722 w 2274883"/>
                <a:gd name="connsiteY3" fmla="*/ 0 h 257442"/>
                <a:gd name="connsiteX0" fmla="*/ 2274883 w 2274883"/>
                <a:gd name="connsiteY0" fmla="*/ 0 h 257442"/>
                <a:gd name="connsiteX1" fmla="*/ 2220162 w 2274883"/>
                <a:gd name="connsiteY1" fmla="*/ 257442 h 257442"/>
                <a:gd name="connsiteX2" fmla="*/ 0 w 2274883"/>
                <a:gd name="connsiteY2" fmla="*/ 257442 h 257442"/>
                <a:gd name="connsiteX3" fmla="*/ 54722 w 2274883"/>
                <a:gd name="connsiteY3" fmla="*/ 0 h 257442"/>
                <a:gd name="connsiteX0" fmla="*/ 2274882 w 2274882"/>
                <a:gd name="connsiteY0" fmla="*/ 0 h 257442"/>
                <a:gd name="connsiteX1" fmla="*/ 2220161 w 2274882"/>
                <a:gd name="connsiteY1" fmla="*/ 257442 h 257442"/>
                <a:gd name="connsiteX2" fmla="*/ 0 w 2274882"/>
                <a:gd name="connsiteY2" fmla="*/ 257442 h 257442"/>
                <a:gd name="connsiteX3" fmla="*/ 54721 w 2274882"/>
                <a:gd name="connsiteY3" fmla="*/ 0 h 257442"/>
                <a:gd name="connsiteX0" fmla="*/ 2274882 w 2274882"/>
                <a:gd name="connsiteY0" fmla="*/ 0 h 257442"/>
                <a:gd name="connsiteX1" fmla="*/ 2220161 w 2274882"/>
                <a:gd name="connsiteY1" fmla="*/ 257442 h 257442"/>
                <a:gd name="connsiteX2" fmla="*/ 0 w 2274882"/>
                <a:gd name="connsiteY2" fmla="*/ 257442 h 257442"/>
                <a:gd name="connsiteX3" fmla="*/ 54720 w 2274882"/>
                <a:gd name="connsiteY3" fmla="*/ 0 h 257442"/>
                <a:gd name="connsiteX0" fmla="*/ 2579451 w 2579451"/>
                <a:gd name="connsiteY0" fmla="*/ 0 h 257442"/>
                <a:gd name="connsiteX1" fmla="*/ 2220161 w 2579451"/>
                <a:gd name="connsiteY1" fmla="*/ 257442 h 257442"/>
                <a:gd name="connsiteX2" fmla="*/ 0 w 2579451"/>
                <a:gd name="connsiteY2" fmla="*/ 257442 h 257442"/>
                <a:gd name="connsiteX3" fmla="*/ 54720 w 2579451"/>
                <a:gd name="connsiteY3" fmla="*/ 0 h 257442"/>
                <a:gd name="connsiteX0" fmla="*/ 2579451 w 2579451"/>
                <a:gd name="connsiteY0" fmla="*/ 0 h 257442"/>
                <a:gd name="connsiteX1" fmla="*/ 2524730 w 2579451"/>
                <a:gd name="connsiteY1" fmla="*/ 257442 h 257442"/>
                <a:gd name="connsiteX2" fmla="*/ 0 w 2579451"/>
                <a:gd name="connsiteY2" fmla="*/ 257442 h 257442"/>
                <a:gd name="connsiteX3" fmla="*/ 54720 w 2579451"/>
                <a:gd name="connsiteY3" fmla="*/ 0 h 257442"/>
                <a:gd name="connsiteX0" fmla="*/ 2579452 w 2579452"/>
                <a:gd name="connsiteY0" fmla="*/ 0 h 257442"/>
                <a:gd name="connsiteX1" fmla="*/ 2524731 w 2579452"/>
                <a:gd name="connsiteY1" fmla="*/ 257442 h 257442"/>
                <a:gd name="connsiteX2" fmla="*/ 0 w 2579452"/>
                <a:gd name="connsiteY2" fmla="*/ 257442 h 257442"/>
                <a:gd name="connsiteX3" fmla="*/ 54721 w 2579452"/>
                <a:gd name="connsiteY3" fmla="*/ 0 h 257442"/>
                <a:gd name="connsiteX0" fmla="*/ 2579452 w 2579452"/>
                <a:gd name="connsiteY0" fmla="*/ 0 h 257442"/>
                <a:gd name="connsiteX1" fmla="*/ 2524731 w 2579452"/>
                <a:gd name="connsiteY1" fmla="*/ 257442 h 257442"/>
                <a:gd name="connsiteX2" fmla="*/ 0 w 2579452"/>
                <a:gd name="connsiteY2" fmla="*/ 257442 h 257442"/>
                <a:gd name="connsiteX3" fmla="*/ 54721 w 2579452"/>
                <a:gd name="connsiteY3" fmla="*/ 0 h 257442"/>
                <a:gd name="connsiteX0" fmla="*/ 2772967 w 2772967"/>
                <a:gd name="connsiteY0" fmla="*/ 0 h 257442"/>
                <a:gd name="connsiteX1" fmla="*/ 2524731 w 2772967"/>
                <a:gd name="connsiteY1" fmla="*/ 257442 h 257442"/>
                <a:gd name="connsiteX2" fmla="*/ 0 w 2772967"/>
                <a:gd name="connsiteY2" fmla="*/ 257442 h 257442"/>
                <a:gd name="connsiteX3" fmla="*/ 54721 w 2772967"/>
                <a:gd name="connsiteY3" fmla="*/ 0 h 257442"/>
                <a:gd name="connsiteX0" fmla="*/ 2772967 w 2772967"/>
                <a:gd name="connsiteY0" fmla="*/ 0 h 257442"/>
                <a:gd name="connsiteX1" fmla="*/ 2718246 w 2772967"/>
                <a:gd name="connsiteY1" fmla="*/ 257442 h 257442"/>
                <a:gd name="connsiteX2" fmla="*/ 0 w 2772967"/>
                <a:gd name="connsiteY2" fmla="*/ 257442 h 257442"/>
                <a:gd name="connsiteX3" fmla="*/ 54721 w 2772967"/>
                <a:gd name="connsiteY3" fmla="*/ 0 h 257442"/>
                <a:gd name="connsiteX0" fmla="*/ 2772967 w 2772967"/>
                <a:gd name="connsiteY0" fmla="*/ 0 h 257442"/>
                <a:gd name="connsiteX1" fmla="*/ 2718246 w 2772967"/>
                <a:gd name="connsiteY1" fmla="*/ 257442 h 257442"/>
                <a:gd name="connsiteX2" fmla="*/ 0 w 2772967"/>
                <a:gd name="connsiteY2" fmla="*/ 257442 h 257442"/>
                <a:gd name="connsiteX3" fmla="*/ 54721 w 2772967"/>
                <a:gd name="connsiteY3" fmla="*/ 0 h 257442"/>
                <a:gd name="connsiteX0" fmla="*/ 2772967 w 2772967"/>
                <a:gd name="connsiteY0" fmla="*/ 0 h 257442"/>
                <a:gd name="connsiteX1" fmla="*/ 2718246 w 2772967"/>
                <a:gd name="connsiteY1" fmla="*/ 257442 h 257442"/>
                <a:gd name="connsiteX2" fmla="*/ 0 w 2772967"/>
                <a:gd name="connsiteY2" fmla="*/ 257442 h 257442"/>
                <a:gd name="connsiteX3" fmla="*/ 54721 w 2772967"/>
                <a:gd name="connsiteY3" fmla="*/ 0 h 257442"/>
                <a:gd name="connsiteX0" fmla="*/ 2958915 w 2958915"/>
                <a:gd name="connsiteY0" fmla="*/ 0 h 257442"/>
                <a:gd name="connsiteX1" fmla="*/ 2718246 w 2958915"/>
                <a:gd name="connsiteY1" fmla="*/ 257442 h 257442"/>
                <a:gd name="connsiteX2" fmla="*/ 0 w 2958915"/>
                <a:gd name="connsiteY2" fmla="*/ 257442 h 257442"/>
                <a:gd name="connsiteX3" fmla="*/ 54721 w 2958915"/>
                <a:gd name="connsiteY3" fmla="*/ 0 h 257442"/>
                <a:gd name="connsiteX0" fmla="*/ 2958915 w 2958915"/>
                <a:gd name="connsiteY0" fmla="*/ 0 h 257442"/>
                <a:gd name="connsiteX1" fmla="*/ 2904194 w 2958915"/>
                <a:gd name="connsiteY1" fmla="*/ 257442 h 257442"/>
                <a:gd name="connsiteX2" fmla="*/ 0 w 2958915"/>
                <a:gd name="connsiteY2" fmla="*/ 257442 h 257442"/>
                <a:gd name="connsiteX3" fmla="*/ 54721 w 2958915"/>
                <a:gd name="connsiteY3" fmla="*/ 0 h 257442"/>
                <a:gd name="connsiteX0" fmla="*/ 2958915 w 2958915"/>
                <a:gd name="connsiteY0" fmla="*/ 0 h 257442"/>
                <a:gd name="connsiteX1" fmla="*/ 2904194 w 2958915"/>
                <a:gd name="connsiteY1" fmla="*/ 257442 h 257442"/>
                <a:gd name="connsiteX2" fmla="*/ 0 w 2958915"/>
                <a:gd name="connsiteY2" fmla="*/ 257442 h 257442"/>
                <a:gd name="connsiteX3" fmla="*/ 54721 w 2958915"/>
                <a:gd name="connsiteY3" fmla="*/ 0 h 257442"/>
                <a:gd name="connsiteX0" fmla="*/ 2958915 w 2958915"/>
                <a:gd name="connsiteY0" fmla="*/ 0 h 257442"/>
                <a:gd name="connsiteX1" fmla="*/ 2904194 w 2958915"/>
                <a:gd name="connsiteY1" fmla="*/ 257442 h 257442"/>
                <a:gd name="connsiteX2" fmla="*/ 0 w 2958915"/>
                <a:gd name="connsiteY2" fmla="*/ 257442 h 257442"/>
                <a:gd name="connsiteX3" fmla="*/ 54721 w 2958915"/>
                <a:gd name="connsiteY3" fmla="*/ 0 h 257442"/>
                <a:gd name="connsiteX0" fmla="*/ 3144863 w 3144863"/>
                <a:gd name="connsiteY0" fmla="*/ 0 h 257442"/>
                <a:gd name="connsiteX1" fmla="*/ 2904194 w 3144863"/>
                <a:gd name="connsiteY1" fmla="*/ 257442 h 257442"/>
                <a:gd name="connsiteX2" fmla="*/ 0 w 3144863"/>
                <a:gd name="connsiteY2" fmla="*/ 257442 h 257442"/>
                <a:gd name="connsiteX3" fmla="*/ 54721 w 3144863"/>
                <a:gd name="connsiteY3" fmla="*/ 0 h 257442"/>
                <a:gd name="connsiteX0" fmla="*/ 3144863 w 3144863"/>
                <a:gd name="connsiteY0" fmla="*/ 0 h 257442"/>
                <a:gd name="connsiteX1" fmla="*/ 3090142 w 3144863"/>
                <a:gd name="connsiteY1" fmla="*/ 257442 h 257442"/>
                <a:gd name="connsiteX2" fmla="*/ 0 w 3144863"/>
                <a:gd name="connsiteY2" fmla="*/ 257442 h 257442"/>
                <a:gd name="connsiteX3" fmla="*/ 54721 w 3144863"/>
                <a:gd name="connsiteY3" fmla="*/ 0 h 257442"/>
                <a:gd name="connsiteX0" fmla="*/ 3144863 w 3144863"/>
                <a:gd name="connsiteY0" fmla="*/ 0 h 257442"/>
                <a:gd name="connsiteX1" fmla="*/ 3090142 w 3144863"/>
                <a:gd name="connsiteY1" fmla="*/ 257442 h 257442"/>
                <a:gd name="connsiteX2" fmla="*/ 0 w 3144863"/>
                <a:gd name="connsiteY2" fmla="*/ 257442 h 257442"/>
                <a:gd name="connsiteX3" fmla="*/ 54721 w 3144863"/>
                <a:gd name="connsiteY3" fmla="*/ 0 h 257442"/>
                <a:gd name="connsiteX0" fmla="*/ 3144863 w 3144863"/>
                <a:gd name="connsiteY0" fmla="*/ 0 h 257442"/>
                <a:gd name="connsiteX1" fmla="*/ 3090142 w 3144863"/>
                <a:gd name="connsiteY1" fmla="*/ 257442 h 257442"/>
                <a:gd name="connsiteX2" fmla="*/ 0 w 3144863"/>
                <a:gd name="connsiteY2" fmla="*/ 257442 h 257442"/>
                <a:gd name="connsiteX3" fmla="*/ 54721 w 3144863"/>
                <a:gd name="connsiteY3" fmla="*/ 0 h 257442"/>
                <a:gd name="connsiteX0" fmla="*/ 3313178 w 3313178"/>
                <a:gd name="connsiteY0" fmla="*/ 0 h 257442"/>
                <a:gd name="connsiteX1" fmla="*/ 3090142 w 3313178"/>
                <a:gd name="connsiteY1" fmla="*/ 257442 h 257442"/>
                <a:gd name="connsiteX2" fmla="*/ 0 w 3313178"/>
                <a:gd name="connsiteY2" fmla="*/ 257442 h 257442"/>
                <a:gd name="connsiteX3" fmla="*/ 54721 w 3313178"/>
                <a:gd name="connsiteY3" fmla="*/ 0 h 257442"/>
                <a:gd name="connsiteX0" fmla="*/ 3313178 w 3313178"/>
                <a:gd name="connsiteY0" fmla="*/ 0 h 257442"/>
                <a:gd name="connsiteX1" fmla="*/ 3258456 w 3313178"/>
                <a:gd name="connsiteY1" fmla="*/ 257442 h 257442"/>
                <a:gd name="connsiteX2" fmla="*/ 0 w 3313178"/>
                <a:gd name="connsiteY2" fmla="*/ 257442 h 257442"/>
                <a:gd name="connsiteX3" fmla="*/ 54721 w 3313178"/>
                <a:gd name="connsiteY3" fmla="*/ 0 h 257442"/>
                <a:gd name="connsiteX0" fmla="*/ 3313179 w 3313179"/>
                <a:gd name="connsiteY0" fmla="*/ 0 h 257442"/>
                <a:gd name="connsiteX1" fmla="*/ 3258457 w 3313179"/>
                <a:gd name="connsiteY1" fmla="*/ 257442 h 257442"/>
                <a:gd name="connsiteX2" fmla="*/ 0 w 3313179"/>
                <a:gd name="connsiteY2" fmla="*/ 257442 h 257442"/>
                <a:gd name="connsiteX3" fmla="*/ 54722 w 3313179"/>
                <a:gd name="connsiteY3" fmla="*/ 0 h 257442"/>
                <a:gd name="connsiteX0" fmla="*/ 3313179 w 3313179"/>
                <a:gd name="connsiteY0" fmla="*/ 0 h 257442"/>
                <a:gd name="connsiteX1" fmla="*/ 3258457 w 3313179"/>
                <a:gd name="connsiteY1" fmla="*/ 257442 h 257442"/>
                <a:gd name="connsiteX2" fmla="*/ 0 w 3313179"/>
                <a:gd name="connsiteY2" fmla="*/ 257442 h 257442"/>
                <a:gd name="connsiteX3" fmla="*/ 54722 w 3313179"/>
                <a:gd name="connsiteY3" fmla="*/ 0 h 257442"/>
                <a:gd name="connsiteX0" fmla="*/ 3622365 w 3622365"/>
                <a:gd name="connsiteY0" fmla="*/ 0 h 257442"/>
                <a:gd name="connsiteX1" fmla="*/ 3258457 w 3622365"/>
                <a:gd name="connsiteY1" fmla="*/ 257442 h 257442"/>
                <a:gd name="connsiteX2" fmla="*/ 0 w 3622365"/>
                <a:gd name="connsiteY2" fmla="*/ 257442 h 257442"/>
                <a:gd name="connsiteX3" fmla="*/ 54722 w 3622365"/>
                <a:gd name="connsiteY3" fmla="*/ 0 h 257442"/>
                <a:gd name="connsiteX0" fmla="*/ 3622365 w 3622365"/>
                <a:gd name="connsiteY0" fmla="*/ 0 h 257442"/>
                <a:gd name="connsiteX1" fmla="*/ 3567645 w 3622365"/>
                <a:gd name="connsiteY1" fmla="*/ 257442 h 257442"/>
                <a:gd name="connsiteX2" fmla="*/ 0 w 3622365"/>
                <a:gd name="connsiteY2" fmla="*/ 257442 h 257442"/>
                <a:gd name="connsiteX3" fmla="*/ 54722 w 3622365"/>
                <a:gd name="connsiteY3" fmla="*/ 0 h 257442"/>
                <a:gd name="connsiteX0" fmla="*/ 3622364 w 3622364"/>
                <a:gd name="connsiteY0" fmla="*/ 0 h 257442"/>
                <a:gd name="connsiteX1" fmla="*/ 3567644 w 3622364"/>
                <a:gd name="connsiteY1" fmla="*/ 257442 h 257442"/>
                <a:gd name="connsiteX2" fmla="*/ 0 w 3622364"/>
                <a:gd name="connsiteY2" fmla="*/ 257442 h 257442"/>
                <a:gd name="connsiteX3" fmla="*/ 54721 w 3622364"/>
                <a:gd name="connsiteY3" fmla="*/ 0 h 257442"/>
                <a:gd name="connsiteX0" fmla="*/ 3622364 w 3622364"/>
                <a:gd name="connsiteY0" fmla="*/ 0 h 257442"/>
                <a:gd name="connsiteX1" fmla="*/ 3567644 w 3622364"/>
                <a:gd name="connsiteY1" fmla="*/ 257442 h 257442"/>
                <a:gd name="connsiteX2" fmla="*/ 0 w 3622364"/>
                <a:gd name="connsiteY2" fmla="*/ 257442 h 257442"/>
                <a:gd name="connsiteX3" fmla="*/ 54720 w 3622364"/>
                <a:gd name="connsiteY3" fmla="*/ 0 h 257442"/>
                <a:gd name="connsiteX0" fmla="*/ 3891669 w 3891669"/>
                <a:gd name="connsiteY0" fmla="*/ 0 h 257442"/>
                <a:gd name="connsiteX1" fmla="*/ 3567644 w 3891669"/>
                <a:gd name="connsiteY1" fmla="*/ 257442 h 257442"/>
                <a:gd name="connsiteX2" fmla="*/ 0 w 3891669"/>
                <a:gd name="connsiteY2" fmla="*/ 257442 h 257442"/>
                <a:gd name="connsiteX3" fmla="*/ 54720 w 3891669"/>
                <a:gd name="connsiteY3" fmla="*/ 0 h 257442"/>
                <a:gd name="connsiteX0" fmla="*/ 3891669 w 3891669"/>
                <a:gd name="connsiteY0" fmla="*/ 0 h 257442"/>
                <a:gd name="connsiteX1" fmla="*/ 3836949 w 3891669"/>
                <a:gd name="connsiteY1" fmla="*/ 257442 h 257442"/>
                <a:gd name="connsiteX2" fmla="*/ 0 w 3891669"/>
                <a:gd name="connsiteY2" fmla="*/ 257442 h 257442"/>
                <a:gd name="connsiteX3" fmla="*/ 54720 w 3891669"/>
                <a:gd name="connsiteY3" fmla="*/ 0 h 257442"/>
                <a:gd name="connsiteX0" fmla="*/ 3891670 w 3891670"/>
                <a:gd name="connsiteY0" fmla="*/ 0 h 257442"/>
                <a:gd name="connsiteX1" fmla="*/ 3836950 w 3891670"/>
                <a:gd name="connsiteY1" fmla="*/ 257442 h 257442"/>
                <a:gd name="connsiteX2" fmla="*/ 0 w 3891670"/>
                <a:gd name="connsiteY2" fmla="*/ 257442 h 257442"/>
                <a:gd name="connsiteX3" fmla="*/ 54721 w 3891670"/>
                <a:gd name="connsiteY3" fmla="*/ 0 h 257442"/>
                <a:gd name="connsiteX0" fmla="*/ 3891670 w 3891670"/>
                <a:gd name="connsiteY0" fmla="*/ 0 h 257442"/>
                <a:gd name="connsiteX1" fmla="*/ 3836950 w 3891670"/>
                <a:gd name="connsiteY1" fmla="*/ 257442 h 257442"/>
                <a:gd name="connsiteX2" fmla="*/ 0 w 3891670"/>
                <a:gd name="connsiteY2" fmla="*/ 257442 h 257442"/>
                <a:gd name="connsiteX3" fmla="*/ 54721 w 3891670"/>
                <a:gd name="connsiteY3" fmla="*/ 0 h 257442"/>
                <a:gd name="connsiteX0" fmla="*/ 4069604 w 4069604"/>
                <a:gd name="connsiteY0" fmla="*/ 0 h 257442"/>
                <a:gd name="connsiteX1" fmla="*/ 3836950 w 4069604"/>
                <a:gd name="connsiteY1" fmla="*/ 257442 h 257442"/>
                <a:gd name="connsiteX2" fmla="*/ 0 w 4069604"/>
                <a:gd name="connsiteY2" fmla="*/ 257442 h 257442"/>
                <a:gd name="connsiteX3" fmla="*/ 54721 w 4069604"/>
                <a:gd name="connsiteY3" fmla="*/ 0 h 257442"/>
                <a:gd name="connsiteX0" fmla="*/ 4069604 w 4069604"/>
                <a:gd name="connsiteY0" fmla="*/ 0 h 257442"/>
                <a:gd name="connsiteX1" fmla="*/ 4014883 w 4069604"/>
                <a:gd name="connsiteY1" fmla="*/ 257442 h 257442"/>
                <a:gd name="connsiteX2" fmla="*/ 0 w 4069604"/>
                <a:gd name="connsiteY2" fmla="*/ 257442 h 257442"/>
                <a:gd name="connsiteX3" fmla="*/ 54721 w 4069604"/>
                <a:gd name="connsiteY3" fmla="*/ 0 h 257442"/>
                <a:gd name="connsiteX0" fmla="*/ 4069604 w 4069604"/>
                <a:gd name="connsiteY0" fmla="*/ 0 h 257442"/>
                <a:gd name="connsiteX1" fmla="*/ 4014883 w 4069604"/>
                <a:gd name="connsiteY1" fmla="*/ 257442 h 257442"/>
                <a:gd name="connsiteX2" fmla="*/ 0 w 4069604"/>
                <a:gd name="connsiteY2" fmla="*/ 257442 h 257442"/>
                <a:gd name="connsiteX3" fmla="*/ 54721 w 4069604"/>
                <a:gd name="connsiteY3" fmla="*/ 0 h 257442"/>
                <a:gd name="connsiteX0" fmla="*/ 4069604 w 4069604"/>
                <a:gd name="connsiteY0" fmla="*/ 0 h 257442"/>
                <a:gd name="connsiteX1" fmla="*/ 4014883 w 4069604"/>
                <a:gd name="connsiteY1" fmla="*/ 257442 h 257442"/>
                <a:gd name="connsiteX2" fmla="*/ 0 w 4069604"/>
                <a:gd name="connsiteY2" fmla="*/ 257442 h 257442"/>
                <a:gd name="connsiteX3" fmla="*/ 54721 w 4069604"/>
                <a:gd name="connsiteY3" fmla="*/ 0 h 257442"/>
                <a:gd name="connsiteX0" fmla="*/ 4390204 w 4390204"/>
                <a:gd name="connsiteY0" fmla="*/ 0 h 257442"/>
                <a:gd name="connsiteX1" fmla="*/ 4014883 w 4390204"/>
                <a:gd name="connsiteY1" fmla="*/ 257442 h 257442"/>
                <a:gd name="connsiteX2" fmla="*/ 0 w 4390204"/>
                <a:gd name="connsiteY2" fmla="*/ 257442 h 257442"/>
                <a:gd name="connsiteX3" fmla="*/ 54721 w 4390204"/>
                <a:gd name="connsiteY3" fmla="*/ 0 h 257442"/>
                <a:gd name="connsiteX0" fmla="*/ 4390204 w 4390204"/>
                <a:gd name="connsiteY0" fmla="*/ 0 h 257442"/>
                <a:gd name="connsiteX1" fmla="*/ 4335483 w 4390204"/>
                <a:gd name="connsiteY1" fmla="*/ 257442 h 257442"/>
                <a:gd name="connsiteX2" fmla="*/ 0 w 4390204"/>
                <a:gd name="connsiteY2" fmla="*/ 257442 h 257442"/>
                <a:gd name="connsiteX3" fmla="*/ 54721 w 4390204"/>
                <a:gd name="connsiteY3" fmla="*/ 0 h 257442"/>
                <a:gd name="connsiteX0" fmla="*/ 4390204 w 4390204"/>
                <a:gd name="connsiteY0" fmla="*/ 0 h 257442"/>
                <a:gd name="connsiteX1" fmla="*/ 4335483 w 4390204"/>
                <a:gd name="connsiteY1" fmla="*/ 257442 h 257442"/>
                <a:gd name="connsiteX2" fmla="*/ 0 w 4390204"/>
                <a:gd name="connsiteY2" fmla="*/ 257442 h 257442"/>
                <a:gd name="connsiteX3" fmla="*/ 54721 w 4390204"/>
                <a:gd name="connsiteY3" fmla="*/ 0 h 257442"/>
                <a:gd name="connsiteX0" fmla="*/ 4390204 w 4390204"/>
                <a:gd name="connsiteY0" fmla="*/ 0 h 257442"/>
                <a:gd name="connsiteX1" fmla="*/ 4335483 w 4390204"/>
                <a:gd name="connsiteY1" fmla="*/ 257442 h 257442"/>
                <a:gd name="connsiteX2" fmla="*/ 0 w 4390204"/>
                <a:gd name="connsiteY2" fmla="*/ 257442 h 257442"/>
                <a:gd name="connsiteX3" fmla="*/ 54721 w 4390204"/>
                <a:gd name="connsiteY3" fmla="*/ 0 h 257442"/>
                <a:gd name="connsiteX0" fmla="*/ 4643479 w 4643479"/>
                <a:gd name="connsiteY0" fmla="*/ 0 h 257442"/>
                <a:gd name="connsiteX1" fmla="*/ 4335483 w 4643479"/>
                <a:gd name="connsiteY1" fmla="*/ 257442 h 257442"/>
                <a:gd name="connsiteX2" fmla="*/ 0 w 4643479"/>
                <a:gd name="connsiteY2" fmla="*/ 257442 h 257442"/>
                <a:gd name="connsiteX3" fmla="*/ 54721 w 4643479"/>
                <a:gd name="connsiteY3" fmla="*/ 0 h 257442"/>
                <a:gd name="connsiteX0" fmla="*/ 4643479 w 4643479"/>
                <a:gd name="connsiteY0" fmla="*/ 0 h 257442"/>
                <a:gd name="connsiteX1" fmla="*/ 4588758 w 4643479"/>
                <a:gd name="connsiteY1" fmla="*/ 257442 h 257442"/>
                <a:gd name="connsiteX2" fmla="*/ 0 w 4643479"/>
                <a:gd name="connsiteY2" fmla="*/ 257442 h 257442"/>
                <a:gd name="connsiteX3" fmla="*/ 54721 w 4643479"/>
                <a:gd name="connsiteY3" fmla="*/ 0 h 257442"/>
                <a:gd name="connsiteX0" fmla="*/ 4643479 w 4643479"/>
                <a:gd name="connsiteY0" fmla="*/ 0 h 257442"/>
                <a:gd name="connsiteX1" fmla="*/ 4588758 w 4643479"/>
                <a:gd name="connsiteY1" fmla="*/ 257442 h 257442"/>
                <a:gd name="connsiteX2" fmla="*/ 0 w 4643479"/>
                <a:gd name="connsiteY2" fmla="*/ 257442 h 257442"/>
                <a:gd name="connsiteX3" fmla="*/ 54721 w 4643479"/>
                <a:gd name="connsiteY3" fmla="*/ 0 h 257442"/>
                <a:gd name="connsiteX0" fmla="*/ 4643479 w 4643479"/>
                <a:gd name="connsiteY0" fmla="*/ 0 h 257442"/>
                <a:gd name="connsiteX1" fmla="*/ 4588758 w 4643479"/>
                <a:gd name="connsiteY1" fmla="*/ 257442 h 257442"/>
                <a:gd name="connsiteX2" fmla="*/ 0 w 4643479"/>
                <a:gd name="connsiteY2" fmla="*/ 257442 h 257442"/>
                <a:gd name="connsiteX3" fmla="*/ 54721 w 4643479"/>
                <a:gd name="connsiteY3" fmla="*/ 0 h 257442"/>
                <a:gd name="connsiteX0" fmla="*/ 4821412 w 4821412"/>
                <a:gd name="connsiteY0" fmla="*/ 0 h 257442"/>
                <a:gd name="connsiteX1" fmla="*/ 4588758 w 4821412"/>
                <a:gd name="connsiteY1" fmla="*/ 257442 h 257442"/>
                <a:gd name="connsiteX2" fmla="*/ 0 w 4821412"/>
                <a:gd name="connsiteY2" fmla="*/ 257442 h 257442"/>
                <a:gd name="connsiteX3" fmla="*/ 54721 w 4821412"/>
                <a:gd name="connsiteY3" fmla="*/ 0 h 257442"/>
                <a:gd name="connsiteX0" fmla="*/ 4821412 w 4821412"/>
                <a:gd name="connsiteY0" fmla="*/ 0 h 257442"/>
                <a:gd name="connsiteX1" fmla="*/ 4766690 w 4821412"/>
                <a:gd name="connsiteY1" fmla="*/ 257442 h 257442"/>
                <a:gd name="connsiteX2" fmla="*/ 0 w 4821412"/>
                <a:gd name="connsiteY2" fmla="*/ 257442 h 257442"/>
                <a:gd name="connsiteX3" fmla="*/ 54721 w 4821412"/>
                <a:gd name="connsiteY3" fmla="*/ 0 h 257442"/>
                <a:gd name="connsiteX0" fmla="*/ 4821413 w 4821413"/>
                <a:gd name="connsiteY0" fmla="*/ 0 h 257442"/>
                <a:gd name="connsiteX1" fmla="*/ 4766691 w 4821413"/>
                <a:gd name="connsiteY1" fmla="*/ 257442 h 257442"/>
                <a:gd name="connsiteX2" fmla="*/ 0 w 4821413"/>
                <a:gd name="connsiteY2" fmla="*/ 257442 h 257442"/>
                <a:gd name="connsiteX3" fmla="*/ 54722 w 4821413"/>
                <a:gd name="connsiteY3" fmla="*/ 0 h 257442"/>
                <a:gd name="connsiteX0" fmla="*/ 4821413 w 4821413"/>
                <a:gd name="connsiteY0" fmla="*/ 0 h 257442"/>
                <a:gd name="connsiteX1" fmla="*/ 4766691 w 4821413"/>
                <a:gd name="connsiteY1" fmla="*/ 257442 h 257442"/>
                <a:gd name="connsiteX2" fmla="*/ 0 w 4821413"/>
                <a:gd name="connsiteY2" fmla="*/ 257442 h 257442"/>
                <a:gd name="connsiteX3" fmla="*/ 54722 w 4821413"/>
                <a:gd name="connsiteY3" fmla="*/ 0 h 257442"/>
                <a:gd name="connsiteX0" fmla="*/ 4989728 w 4989728"/>
                <a:gd name="connsiteY0" fmla="*/ 0 h 257442"/>
                <a:gd name="connsiteX1" fmla="*/ 4766691 w 4989728"/>
                <a:gd name="connsiteY1" fmla="*/ 257442 h 257442"/>
                <a:gd name="connsiteX2" fmla="*/ 0 w 4989728"/>
                <a:gd name="connsiteY2" fmla="*/ 257442 h 257442"/>
                <a:gd name="connsiteX3" fmla="*/ 54722 w 4989728"/>
                <a:gd name="connsiteY3" fmla="*/ 0 h 257442"/>
                <a:gd name="connsiteX0" fmla="*/ 4989728 w 4989728"/>
                <a:gd name="connsiteY0" fmla="*/ 0 h 257442"/>
                <a:gd name="connsiteX1" fmla="*/ 4935007 w 4989728"/>
                <a:gd name="connsiteY1" fmla="*/ 257442 h 257442"/>
                <a:gd name="connsiteX2" fmla="*/ 0 w 4989728"/>
                <a:gd name="connsiteY2" fmla="*/ 257442 h 257442"/>
                <a:gd name="connsiteX3" fmla="*/ 54722 w 4989728"/>
                <a:gd name="connsiteY3" fmla="*/ 0 h 257442"/>
                <a:gd name="connsiteX0" fmla="*/ 4989728 w 4989728"/>
                <a:gd name="connsiteY0" fmla="*/ 0 h 257442"/>
                <a:gd name="connsiteX1" fmla="*/ 4935007 w 4989728"/>
                <a:gd name="connsiteY1" fmla="*/ 257442 h 257442"/>
                <a:gd name="connsiteX2" fmla="*/ 0 w 4989728"/>
                <a:gd name="connsiteY2" fmla="*/ 257442 h 257442"/>
                <a:gd name="connsiteX3" fmla="*/ 54722 w 4989728"/>
                <a:gd name="connsiteY3" fmla="*/ 0 h 257442"/>
                <a:gd name="connsiteX0" fmla="*/ 4989728 w 4989728"/>
                <a:gd name="connsiteY0" fmla="*/ 0 h 257442"/>
                <a:gd name="connsiteX1" fmla="*/ 4935007 w 4989728"/>
                <a:gd name="connsiteY1" fmla="*/ 257442 h 257442"/>
                <a:gd name="connsiteX2" fmla="*/ 0 w 4989728"/>
                <a:gd name="connsiteY2" fmla="*/ 257442 h 257442"/>
                <a:gd name="connsiteX3" fmla="*/ 54721 w 4989728"/>
                <a:gd name="connsiteY3" fmla="*/ 0 h 257442"/>
                <a:gd name="connsiteX0" fmla="*/ 5150028 w 5150028"/>
                <a:gd name="connsiteY0" fmla="*/ 0 h 257442"/>
                <a:gd name="connsiteX1" fmla="*/ 4935007 w 5150028"/>
                <a:gd name="connsiteY1" fmla="*/ 257442 h 257442"/>
                <a:gd name="connsiteX2" fmla="*/ 0 w 5150028"/>
                <a:gd name="connsiteY2" fmla="*/ 257442 h 257442"/>
                <a:gd name="connsiteX3" fmla="*/ 54721 w 5150028"/>
                <a:gd name="connsiteY3" fmla="*/ 0 h 257442"/>
                <a:gd name="connsiteX0" fmla="*/ 5150028 w 5150028"/>
                <a:gd name="connsiteY0" fmla="*/ 0 h 257442"/>
                <a:gd name="connsiteX1" fmla="*/ 5095307 w 5150028"/>
                <a:gd name="connsiteY1" fmla="*/ 257442 h 257442"/>
                <a:gd name="connsiteX2" fmla="*/ 0 w 5150028"/>
                <a:gd name="connsiteY2" fmla="*/ 257442 h 257442"/>
                <a:gd name="connsiteX3" fmla="*/ 54721 w 5150028"/>
                <a:gd name="connsiteY3" fmla="*/ 0 h 257442"/>
                <a:gd name="connsiteX0" fmla="*/ 5150028 w 5150028"/>
                <a:gd name="connsiteY0" fmla="*/ 0 h 257442"/>
                <a:gd name="connsiteX1" fmla="*/ 5095307 w 5150028"/>
                <a:gd name="connsiteY1" fmla="*/ 257442 h 257442"/>
                <a:gd name="connsiteX2" fmla="*/ 0 w 5150028"/>
                <a:gd name="connsiteY2" fmla="*/ 257442 h 257442"/>
                <a:gd name="connsiteX3" fmla="*/ 54721 w 5150028"/>
                <a:gd name="connsiteY3" fmla="*/ 0 h 257442"/>
                <a:gd name="connsiteX0" fmla="*/ 5150028 w 5150028"/>
                <a:gd name="connsiteY0" fmla="*/ 0 h 257442"/>
                <a:gd name="connsiteX1" fmla="*/ 5095307 w 5150028"/>
                <a:gd name="connsiteY1" fmla="*/ 257442 h 257442"/>
                <a:gd name="connsiteX2" fmla="*/ 0 w 5150028"/>
                <a:gd name="connsiteY2" fmla="*/ 257442 h 257442"/>
                <a:gd name="connsiteX3" fmla="*/ 54721 w 5150028"/>
                <a:gd name="connsiteY3" fmla="*/ 0 h 257442"/>
                <a:gd name="connsiteX0" fmla="*/ 2114581 w 5095307"/>
                <a:gd name="connsiteY0" fmla="*/ 0 h 257442"/>
                <a:gd name="connsiteX1" fmla="*/ 5095307 w 5095307"/>
                <a:gd name="connsiteY1" fmla="*/ 257442 h 257442"/>
                <a:gd name="connsiteX2" fmla="*/ 0 w 5095307"/>
                <a:gd name="connsiteY2" fmla="*/ 257442 h 257442"/>
                <a:gd name="connsiteX3" fmla="*/ 54721 w 5095307"/>
                <a:gd name="connsiteY3" fmla="*/ 0 h 257442"/>
                <a:gd name="connsiteX0" fmla="*/ 2114581 w 2114581"/>
                <a:gd name="connsiteY0" fmla="*/ 0 h 257442"/>
                <a:gd name="connsiteX1" fmla="*/ 2059861 w 2114581"/>
                <a:gd name="connsiteY1" fmla="*/ 257442 h 257442"/>
                <a:gd name="connsiteX2" fmla="*/ 0 w 2114581"/>
                <a:gd name="connsiteY2" fmla="*/ 257442 h 257442"/>
                <a:gd name="connsiteX3" fmla="*/ 54721 w 2114581"/>
                <a:gd name="connsiteY3" fmla="*/ 0 h 257442"/>
                <a:gd name="connsiteX0" fmla="*/ 2114580 w 2114580"/>
                <a:gd name="connsiteY0" fmla="*/ 0 h 257442"/>
                <a:gd name="connsiteX1" fmla="*/ 2059860 w 2114580"/>
                <a:gd name="connsiteY1" fmla="*/ 257442 h 257442"/>
                <a:gd name="connsiteX2" fmla="*/ 0 w 2114580"/>
                <a:gd name="connsiteY2" fmla="*/ 257442 h 257442"/>
                <a:gd name="connsiteX3" fmla="*/ 54720 w 2114580"/>
                <a:gd name="connsiteY3" fmla="*/ 0 h 257442"/>
                <a:gd name="connsiteX0" fmla="*/ 2114580 w 2114580"/>
                <a:gd name="connsiteY0" fmla="*/ 0 h 257442"/>
                <a:gd name="connsiteX1" fmla="*/ 2059860 w 2114580"/>
                <a:gd name="connsiteY1" fmla="*/ 257442 h 257442"/>
                <a:gd name="connsiteX2" fmla="*/ 0 w 2114580"/>
                <a:gd name="connsiteY2" fmla="*/ 257442 h 257442"/>
                <a:gd name="connsiteX3" fmla="*/ 54720 w 2114580"/>
                <a:gd name="connsiteY3" fmla="*/ 0 h 257442"/>
                <a:gd name="connsiteX0" fmla="*/ 2274881 w 2274881"/>
                <a:gd name="connsiteY0" fmla="*/ 0 h 257442"/>
                <a:gd name="connsiteX1" fmla="*/ 2059860 w 2274881"/>
                <a:gd name="connsiteY1" fmla="*/ 257442 h 257442"/>
                <a:gd name="connsiteX2" fmla="*/ 0 w 2274881"/>
                <a:gd name="connsiteY2" fmla="*/ 257442 h 257442"/>
                <a:gd name="connsiteX3" fmla="*/ 54720 w 2274881"/>
                <a:gd name="connsiteY3" fmla="*/ 0 h 257442"/>
                <a:gd name="connsiteX0" fmla="*/ 2274881 w 2274881"/>
                <a:gd name="connsiteY0" fmla="*/ 0 h 257442"/>
                <a:gd name="connsiteX1" fmla="*/ 2220160 w 2274881"/>
                <a:gd name="connsiteY1" fmla="*/ 257442 h 257442"/>
                <a:gd name="connsiteX2" fmla="*/ 0 w 2274881"/>
                <a:gd name="connsiteY2" fmla="*/ 257442 h 257442"/>
                <a:gd name="connsiteX3" fmla="*/ 54720 w 2274881"/>
                <a:gd name="connsiteY3" fmla="*/ 0 h 257442"/>
                <a:gd name="connsiteX0" fmla="*/ 2274882 w 2274882"/>
                <a:gd name="connsiteY0" fmla="*/ 0 h 257442"/>
                <a:gd name="connsiteX1" fmla="*/ 2220161 w 2274882"/>
                <a:gd name="connsiteY1" fmla="*/ 257442 h 257442"/>
                <a:gd name="connsiteX2" fmla="*/ 0 w 2274882"/>
                <a:gd name="connsiteY2" fmla="*/ 257442 h 257442"/>
                <a:gd name="connsiteX3" fmla="*/ 54721 w 2274882"/>
                <a:gd name="connsiteY3" fmla="*/ 0 h 257442"/>
                <a:gd name="connsiteX0" fmla="*/ 2274882 w 2274882"/>
                <a:gd name="connsiteY0" fmla="*/ 0 h 257442"/>
                <a:gd name="connsiteX1" fmla="*/ 2220161 w 2274882"/>
                <a:gd name="connsiteY1" fmla="*/ 257442 h 257442"/>
                <a:gd name="connsiteX2" fmla="*/ 0 w 2274882"/>
                <a:gd name="connsiteY2" fmla="*/ 257442 h 257442"/>
                <a:gd name="connsiteX3" fmla="*/ 54721 w 2274882"/>
                <a:gd name="connsiteY3" fmla="*/ 0 h 257442"/>
                <a:gd name="connsiteX0" fmla="*/ 2579452 w 2579452"/>
                <a:gd name="connsiteY0" fmla="*/ 0 h 257442"/>
                <a:gd name="connsiteX1" fmla="*/ 2220161 w 2579452"/>
                <a:gd name="connsiteY1" fmla="*/ 257442 h 257442"/>
                <a:gd name="connsiteX2" fmla="*/ 0 w 2579452"/>
                <a:gd name="connsiteY2" fmla="*/ 257442 h 257442"/>
                <a:gd name="connsiteX3" fmla="*/ 54721 w 2579452"/>
                <a:gd name="connsiteY3" fmla="*/ 0 h 257442"/>
                <a:gd name="connsiteX0" fmla="*/ 2579452 w 2579452"/>
                <a:gd name="connsiteY0" fmla="*/ 0 h 257442"/>
                <a:gd name="connsiteX1" fmla="*/ 2524731 w 2579452"/>
                <a:gd name="connsiteY1" fmla="*/ 257442 h 257442"/>
                <a:gd name="connsiteX2" fmla="*/ 0 w 2579452"/>
                <a:gd name="connsiteY2" fmla="*/ 257442 h 257442"/>
                <a:gd name="connsiteX3" fmla="*/ 54721 w 2579452"/>
                <a:gd name="connsiteY3" fmla="*/ 0 h 257442"/>
                <a:gd name="connsiteX0" fmla="*/ 2579452 w 2579452"/>
                <a:gd name="connsiteY0" fmla="*/ 0 h 257442"/>
                <a:gd name="connsiteX1" fmla="*/ 2524731 w 2579452"/>
                <a:gd name="connsiteY1" fmla="*/ 257442 h 257442"/>
                <a:gd name="connsiteX2" fmla="*/ 0 w 2579452"/>
                <a:gd name="connsiteY2" fmla="*/ 257442 h 257442"/>
                <a:gd name="connsiteX3" fmla="*/ 54721 w 2579452"/>
                <a:gd name="connsiteY3" fmla="*/ 0 h 257442"/>
                <a:gd name="connsiteX0" fmla="*/ 2579452 w 2579452"/>
                <a:gd name="connsiteY0" fmla="*/ 0 h 257442"/>
                <a:gd name="connsiteX1" fmla="*/ 2524731 w 2579452"/>
                <a:gd name="connsiteY1" fmla="*/ 257442 h 257442"/>
                <a:gd name="connsiteX2" fmla="*/ 0 w 2579452"/>
                <a:gd name="connsiteY2" fmla="*/ 257442 h 257442"/>
                <a:gd name="connsiteX3" fmla="*/ 54721 w 2579452"/>
                <a:gd name="connsiteY3" fmla="*/ 0 h 257442"/>
                <a:gd name="connsiteX0" fmla="*/ 2772967 w 2772967"/>
                <a:gd name="connsiteY0" fmla="*/ 0 h 257442"/>
                <a:gd name="connsiteX1" fmla="*/ 2524731 w 2772967"/>
                <a:gd name="connsiteY1" fmla="*/ 257442 h 257442"/>
                <a:gd name="connsiteX2" fmla="*/ 0 w 2772967"/>
                <a:gd name="connsiteY2" fmla="*/ 257442 h 257442"/>
                <a:gd name="connsiteX3" fmla="*/ 54721 w 2772967"/>
                <a:gd name="connsiteY3" fmla="*/ 0 h 257442"/>
                <a:gd name="connsiteX0" fmla="*/ 2772967 w 2772967"/>
                <a:gd name="connsiteY0" fmla="*/ 0 h 257442"/>
                <a:gd name="connsiteX1" fmla="*/ 2718246 w 2772967"/>
                <a:gd name="connsiteY1" fmla="*/ 257442 h 257442"/>
                <a:gd name="connsiteX2" fmla="*/ 0 w 2772967"/>
                <a:gd name="connsiteY2" fmla="*/ 257442 h 257442"/>
                <a:gd name="connsiteX3" fmla="*/ 54721 w 2772967"/>
                <a:gd name="connsiteY3" fmla="*/ 0 h 257442"/>
                <a:gd name="connsiteX0" fmla="*/ 2772967 w 2772967"/>
                <a:gd name="connsiteY0" fmla="*/ 0 h 257442"/>
                <a:gd name="connsiteX1" fmla="*/ 2718246 w 2772967"/>
                <a:gd name="connsiteY1" fmla="*/ 257442 h 257442"/>
                <a:gd name="connsiteX2" fmla="*/ 0 w 2772967"/>
                <a:gd name="connsiteY2" fmla="*/ 257442 h 257442"/>
                <a:gd name="connsiteX3" fmla="*/ 54721 w 2772967"/>
                <a:gd name="connsiteY3" fmla="*/ 0 h 257442"/>
                <a:gd name="connsiteX0" fmla="*/ 2772967 w 2772967"/>
                <a:gd name="connsiteY0" fmla="*/ 0 h 257442"/>
                <a:gd name="connsiteX1" fmla="*/ 2718246 w 2772967"/>
                <a:gd name="connsiteY1" fmla="*/ 257442 h 257442"/>
                <a:gd name="connsiteX2" fmla="*/ 0 w 2772967"/>
                <a:gd name="connsiteY2" fmla="*/ 257442 h 257442"/>
                <a:gd name="connsiteX3" fmla="*/ 54721 w 2772967"/>
                <a:gd name="connsiteY3" fmla="*/ 0 h 257442"/>
                <a:gd name="connsiteX0" fmla="*/ 2579452 w 2718246"/>
                <a:gd name="connsiteY0" fmla="*/ 0 h 257442"/>
                <a:gd name="connsiteX1" fmla="*/ 2718246 w 2718246"/>
                <a:gd name="connsiteY1" fmla="*/ 257442 h 257442"/>
                <a:gd name="connsiteX2" fmla="*/ 0 w 2718246"/>
                <a:gd name="connsiteY2" fmla="*/ 257442 h 257442"/>
                <a:gd name="connsiteX3" fmla="*/ 54721 w 2718246"/>
                <a:gd name="connsiteY3" fmla="*/ 0 h 257442"/>
                <a:gd name="connsiteX0" fmla="*/ 2579452 w 2579452"/>
                <a:gd name="connsiteY0" fmla="*/ 0 h 257442"/>
                <a:gd name="connsiteX1" fmla="*/ 2524731 w 2579452"/>
                <a:gd name="connsiteY1" fmla="*/ 257442 h 257442"/>
                <a:gd name="connsiteX2" fmla="*/ 0 w 2579452"/>
                <a:gd name="connsiteY2" fmla="*/ 257442 h 257442"/>
                <a:gd name="connsiteX3" fmla="*/ 54721 w 2579452"/>
                <a:gd name="connsiteY3" fmla="*/ 0 h 257442"/>
                <a:gd name="connsiteX0" fmla="*/ 2579452 w 2579452"/>
                <a:gd name="connsiteY0" fmla="*/ 0 h 257442"/>
                <a:gd name="connsiteX1" fmla="*/ 2524731 w 2579452"/>
                <a:gd name="connsiteY1" fmla="*/ 257442 h 257442"/>
                <a:gd name="connsiteX2" fmla="*/ 0 w 2579452"/>
                <a:gd name="connsiteY2" fmla="*/ 257442 h 257442"/>
                <a:gd name="connsiteX3" fmla="*/ 54721 w 2579452"/>
                <a:gd name="connsiteY3" fmla="*/ 0 h 257442"/>
                <a:gd name="connsiteX0" fmla="*/ 2579452 w 2579452"/>
                <a:gd name="connsiteY0" fmla="*/ 0 h 257442"/>
                <a:gd name="connsiteX1" fmla="*/ 2524731 w 2579452"/>
                <a:gd name="connsiteY1" fmla="*/ 257442 h 257442"/>
                <a:gd name="connsiteX2" fmla="*/ 0 w 2579452"/>
                <a:gd name="connsiteY2" fmla="*/ 257442 h 257442"/>
                <a:gd name="connsiteX3" fmla="*/ 54721 w 2579452"/>
                <a:gd name="connsiteY3" fmla="*/ 0 h 257442"/>
                <a:gd name="connsiteX0" fmla="*/ 2427166 w 2524731"/>
                <a:gd name="connsiteY0" fmla="*/ 0 h 257442"/>
                <a:gd name="connsiteX1" fmla="*/ 2524731 w 2524731"/>
                <a:gd name="connsiteY1" fmla="*/ 257442 h 257442"/>
                <a:gd name="connsiteX2" fmla="*/ 0 w 2524731"/>
                <a:gd name="connsiteY2" fmla="*/ 257442 h 257442"/>
                <a:gd name="connsiteX3" fmla="*/ 54721 w 2524731"/>
                <a:gd name="connsiteY3" fmla="*/ 0 h 257442"/>
                <a:gd name="connsiteX0" fmla="*/ 2427166 w 2427166"/>
                <a:gd name="connsiteY0" fmla="*/ 0 h 257442"/>
                <a:gd name="connsiteX1" fmla="*/ 2372446 w 2427166"/>
                <a:gd name="connsiteY1" fmla="*/ 257442 h 257442"/>
                <a:gd name="connsiteX2" fmla="*/ 0 w 2427166"/>
                <a:gd name="connsiteY2" fmla="*/ 257442 h 257442"/>
                <a:gd name="connsiteX3" fmla="*/ 54721 w 2427166"/>
                <a:gd name="connsiteY3" fmla="*/ 0 h 257442"/>
                <a:gd name="connsiteX0" fmla="*/ 2427165 w 2427165"/>
                <a:gd name="connsiteY0" fmla="*/ 0 h 257442"/>
                <a:gd name="connsiteX1" fmla="*/ 2372445 w 2427165"/>
                <a:gd name="connsiteY1" fmla="*/ 257442 h 257442"/>
                <a:gd name="connsiteX2" fmla="*/ 0 w 2427165"/>
                <a:gd name="connsiteY2" fmla="*/ 257442 h 257442"/>
                <a:gd name="connsiteX3" fmla="*/ 54720 w 2427165"/>
                <a:gd name="connsiteY3" fmla="*/ 0 h 257442"/>
                <a:gd name="connsiteX0" fmla="*/ 2427165 w 2427165"/>
                <a:gd name="connsiteY0" fmla="*/ 0 h 257442"/>
                <a:gd name="connsiteX1" fmla="*/ 2372445 w 2427165"/>
                <a:gd name="connsiteY1" fmla="*/ 257442 h 257442"/>
                <a:gd name="connsiteX2" fmla="*/ 0 w 2427165"/>
                <a:gd name="connsiteY2" fmla="*/ 257442 h 257442"/>
                <a:gd name="connsiteX3" fmla="*/ 54721 w 2427165"/>
                <a:gd name="connsiteY3" fmla="*/ 0 h 257442"/>
                <a:gd name="connsiteX0" fmla="*/ 2274882 w 2372445"/>
                <a:gd name="connsiteY0" fmla="*/ 0 h 257442"/>
                <a:gd name="connsiteX1" fmla="*/ 2372445 w 2372445"/>
                <a:gd name="connsiteY1" fmla="*/ 257442 h 257442"/>
                <a:gd name="connsiteX2" fmla="*/ 0 w 2372445"/>
                <a:gd name="connsiteY2" fmla="*/ 257442 h 257442"/>
                <a:gd name="connsiteX3" fmla="*/ 54721 w 2372445"/>
                <a:gd name="connsiteY3" fmla="*/ 0 h 257442"/>
                <a:gd name="connsiteX0" fmla="*/ 2274882 w 2274882"/>
                <a:gd name="connsiteY0" fmla="*/ 0 h 257442"/>
                <a:gd name="connsiteX1" fmla="*/ 2220161 w 2274882"/>
                <a:gd name="connsiteY1" fmla="*/ 257442 h 257442"/>
                <a:gd name="connsiteX2" fmla="*/ 0 w 2274882"/>
                <a:gd name="connsiteY2" fmla="*/ 257442 h 257442"/>
                <a:gd name="connsiteX3" fmla="*/ 54721 w 2274882"/>
                <a:gd name="connsiteY3" fmla="*/ 0 h 257442"/>
                <a:gd name="connsiteX0" fmla="*/ 2274882 w 2274882"/>
                <a:gd name="connsiteY0" fmla="*/ 0 h 257442"/>
                <a:gd name="connsiteX1" fmla="*/ 2220161 w 2274882"/>
                <a:gd name="connsiteY1" fmla="*/ 257442 h 257442"/>
                <a:gd name="connsiteX2" fmla="*/ 0 w 2274882"/>
                <a:gd name="connsiteY2" fmla="*/ 257442 h 257442"/>
                <a:gd name="connsiteX3" fmla="*/ 54721 w 2274882"/>
                <a:gd name="connsiteY3" fmla="*/ 0 h 257442"/>
                <a:gd name="connsiteX0" fmla="*/ 2274882 w 2274882"/>
                <a:gd name="connsiteY0" fmla="*/ 0 h 257442"/>
                <a:gd name="connsiteX1" fmla="*/ 2220161 w 2274882"/>
                <a:gd name="connsiteY1" fmla="*/ 257442 h 257442"/>
                <a:gd name="connsiteX2" fmla="*/ 0 w 2274882"/>
                <a:gd name="connsiteY2" fmla="*/ 257442 h 257442"/>
                <a:gd name="connsiteX3" fmla="*/ 54721 w 2274882"/>
                <a:gd name="connsiteY3" fmla="*/ 0 h 257442"/>
                <a:gd name="connsiteX0" fmla="*/ 2114581 w 2220161"/>
                <a:gd name="connsiteY0" fmla="*/ 0 h 257442"/>
                <a:gd name="connsiteX1" fmla="*/ 2220161 w 2220161"/>
                <a:gd name="connsiteY1" fmla="*/ 257442 h 257442"/>
                <a:gd name="connsiteX2" fmla="*/ 0 w 2220161"/>
                <a:gd name="connsiteY2" fmla="*/ 257442 h 257442"/>
                <a:gd name="connsiteX3" fmla="*/ 54721 w 2220161"/>
                <a:gd name="connsiteY3" fmla="*/ 0 h 257442"/>
                <a:gd name="connsiteX0" fmla="*/ 2114581 w 2114581"/>
                <a:gd name="connsiteY0" fmla="*/ 0 h 257442"/>
                <a:gd name="connsiteX1" fmla="*/ 2059861 w 2114581"/>
                <a:gd name="connsiteY1" fmla="*/ 257442 h 257442"/>
                <a:gd name="connsiteX2" fmla="*/ 0 w 2114581"/>
                <a:gd name="connsiteY2" fmla="*/ 257442 h 257442"/>
                <a:gd name="connsiteX3" fmla="*/ 54721 w 2114581"/>
                <a:gd name="connsiteY3" fmla="*/ 0 h 257442"/>
                <a:gd name="connsiteX0" fmla="*/ 2114580 w 2114580"/>
                <a:gd name="connsiteY0" fmla="*/ 0 h 257442"/>
                <a:gd name="connsiteX1" fmla="*/ 2059860 w 2114580"/>
                <a:gd name="connsiteY1" fmla="*/ 257442 h 257442"/>
                <a:gd name="connsiteX2" fmla="*/ 0 w 2114580"/>
                <a:gd name="connsiteY2" fmla="*/ 257442 h 257442"/>
                <a:gd name="connsiteX3" fmla="*/ 54720 w 2114580"/>
                <a:gd name="connsiteY3" fmla="*/ 0 h 257442"/>
                <a:gd name="connsiteX0" fmla="*/ 2114580 w 2114580"/>
                <a:gd name="connsiteY0" fmla="*/ 0 h 257442"/>
                <a:gd name="connsiteX1" fmla="*/ 2059860 w 2114580"/>
                <a:gd name="connsiteY1" fmla="*/ 257442 h 257442"/>
                <a:gd name="connsiteX2" fmla="*/ 0 w 2114580"/>
                <a:gd name="connsiteY2" fmla="*/ 257442 h 257442"/>
                <a:gd name="connsiteX3" fmla="*/ 54720 w 2114580"/>
                <a:gd name="connsiteY3" fmla="*/ 0 h 257442"/>
                <a:gd name="connsiteX0" fmla="*/ 2316559 w 2316559"/>
                <a:gd name="connsiteY0" fmla="*/ 0 h 257442"/>
                <a:gd name="connsiteX1" fmla="*/ 2059860 w 2316559"/>
                <a:gd name="connsiteY1" fmla="*/ 257442 h 257442"/>
                <a:gd name="connsiteX2" fmla="*/ 0 w 2316559"/>
                <a:gd name="connsiteY2" fmla="*/ 257442 h 257442"/>
                <a:gd name="connsiteX3" fmla="*/ 54720 w 2316559"/>
                <a:gd name="connsiteY3" fmla="*/ 0 h 257442"/>
                <a:gd name="connsiteX0" fmla="*/ 2316559 w 2316559"/>
                <a:gd name="connsiteY0" fmla="*/ 0 h 257442"/>
                <a:gd name="connsiteX1" fmla="*/ 2261838 w 2316559"/>
                <a:gd name="connsiteY1" fmla="*/ 257442 h 257442"/>
                <a:gd name="connsiteX2" fmla="*/ 0 w 2316559"/>
                <a:gd name="connsiteY2" fmla="*/ 257442 h 257442"/>
                <a:gd name="connsiteX3" fmla="*/ 54720 w 2316559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316560 w 2316560"/>
                <a:gd name="connsiteY0" fmla="*/ 0 h 257442"/>
                <a:gd name="connsiteX1" fmla="*/ 2261839 w 2316560"/>
                <a:gd name="connsiteY1" fmla="*/ 257442 h 257442"/>
                <a:gd name="connsiteX2" fmla="*/ 0 w 2316560"/>
                <a:gd name="connsiteY2" fmla="*/ 257442 h 257442"/>
                <a:gd name="connsiteX3" fmla="*/ 54721 w 2316560"/>
                <a:gd name="connsiteY3" fmla="*/ 0 h 257442"/>
                <a:gd name="connsiteX0" fmla="*/ 2577849 w 2577849"/>
                <a:gd name="connsiteY0" fmla="*/ 0 h 257442"/>
                <a:gd name="connsiteX1" fmla="*/ 2261839 w 2577849"/>
                <a:gd name="connsiteY1" fmla="*/ 257442 h 257442"/>
                <a:gd name="connsiteX2" fmla="*/ 0 w 2577849"/>
                <a:gd name="connsiteY2" fmla="*/ 257442 h 257442"/>
                <a:gd name="connsiteX3" fmla="*/ 54721 w 2577849"/>
                <a:gd name="connsiteY3" fmla="*/ 0 h 257442"/>
                <a:gd name="connsiteX0" fmla="*/ 2577849 w 2577849"/>
                <a:gd name="connsiteY0" fmla="*/ 0 h 257442"/>
                <a:gd name="connsiteX1" fmla="*/ 2523128 w 2577849"/>
                <a:gd name="connsiteY1" fmla="*/ 257442 h 257442"/>
                <a:gd name="connsiteX2" fmla="*/ 0 w 2577849"/>
                <a:gd name="connsiteY2" fmla="*/ 257442 h 257442"/>
                <a:gd name="connsiteX3" fmla="*/ 54721 w 2577849"/>
                <a:gd name="connsiteY3" fmla="*/ 0 h 257442"/>
                <a:gd name="connsiteX0" fmla="*/ 2577849 w 2577849"/>
                <a:gd name="connsiteY0" fmla="*/ 0 h 257442"/>
                <a:gd name="connsiteX1" fmla="*/ 2523128 w 2577849"/>
                <a:gd name="connsiteY1" fmla="*/ 257442 h 257442"/>
                <a:gd name="connsiteX2" fmla="*/ 0 w 2577849"/>
                <a:gd name="connsiteY2" fmla="*/ 257442 h 257442"/>
                <a:gd name="connsiteX3" fmla="*/ 54721 w 2577849"/>
                <a:gd name="connsiteY3" fmla="*/ 0 h 257442"/>
                <a:gd name="connsiteX0" fmla="*/ 2577849 w 2577849"/>
                <a:gd name="connsiteY0" fmla="*/ 0 h 257442"/>
                <a:gd name="connsiteX1" fmla="*/ 2523128 w 2577849"/>
                <a:gd name="connsiteY1" fmla="*/ 257442 h 257442"/>
                <a:gd name="connsiteX2" fmla="*/ 0 w 2577849"/>
                <a:gd name="connsiteY2" fmla="*/ 257442 h 257442"/>
                <a:gd name="connsiteX3" fmla="*/ 54721 w 2577849"/>
                <a:gd name="connsiteY3" fmla="*/ 0 h 257442"/>
                <a:gd name="connsiteX0" fmla="*/ 2746164 w 2746164"/>
                <a:gd name="connsiteY0" fmla="*/ 0 h 257442"/>
                <a:gd name="connsiteX1" fmla="*/ 2523128 w 2746164"/>
                <a:gd name="connsiteY1" fmla="*/ 257442 h 257442"/>
                <a:gd name="connsiteX2" fmla="*/ 0 w 2746164"/>
                <a:gd name="connsiteY2" fmla="*/ 257442 h 257442"/>
                <a:gd name="connsiteX3" fmla="*/ 54721 w 2746164"/>
                <a:gd name="connsiteY3" fmla="*/ 0 h 257442"/>
                <a:gd name="connsiteX0" fmla="*/ 2746164 w 2746164"/>
                <a:gd name="connsiteY0" fmla="*/ 0 h 257442"/>
                <a:gd name="connsiteX1" fmla="*/ 2691442 w 2746164"/>
                <a:gd name="connsiteY1" fmla="*/ 257442 h 257442"/>
                <a:gd name="connsiteX2" fmla="*/ 0 w 2746164"/>
                <a:gd name="connsiteY2" fmla="*/ 257442 h 257442"/>
                <a:gd name="connsiteX3" fmla="*/ 54721 w 2746164"/>
                <a:gd name="connsiteY3" fmla="*/ 0 h 257442"/>
                <a:gd name="connsiteX0" fmla="*/ 2746165 w 2746165"/>
                <a:gd name="connsiteY0" fmla="*/ 0 h 257442"/>
                <a:gd name="connsiteX1" fmla="*/ 2691443 w 2746165"/>
                <a:gd name="connsiteY1" fmla="*/ 257442 h 257442"/>
                <a:gd name="connsiteX2" fmla="*/ 0 w 2746165"/>
                <a:gd name="connsiteY2" fmla="*/ 257442 h 257442"/>
                <a:gd name="connsiteX3" fmla="*/ 54722 w 2746165"/>
                <a:gd name="connsiteY3" fmla="*/ 0 h 257442"/>
                <a:gd name="connsiteX0" fmla="*/ 2746165 w 2746165"/>
                <a:gd name="connsiteY0" fmla="*/ 0 h 257442"/>
                <a:gd name="connsiteX1" fmla="*/ 2691443 w 2746165"/>
                <a:gd name="connsiteY1" fmla="*/ 257442 h 257442"/>
                <a:gd name="connsiteX2" fmla="*/ 0 w 2746165"/>
                <a:gd name="connsiteY2" fmla="*/ 257442 h 257442"/>
                <a:gd name="connsiteX3" fmla="*/ 54722 w 2746165"/>
                <a:gd name="connsiteY3" fmla="*/ 0 h 257442"/>
                <a:gd name="connsiteX0" fmla="*/ 2914480 w 2914480"/>
                <a:gd name="connsiteY0" fmla="*/ 0 h 257442"/>
                <a:gd name="connsiteX1" fmla="*/ 2691443 w 2914480"/>
                <a:gd name="connsiteY1" fmla="*/ 257442 h 257442"/>
                <a:gd name="connsiteX2" fmla="*/ 0 w 2914480"/>
                <a:gd name="connsiteY2" fmla="*/ 257442 h 257442"/>
                <a:gd name="connsiteX3" fmla="*/ 54722 w 2914480"/>
                <a:gd name="connsiteY3" fmla="*/ 0 h 257442"/>
                <a:gd name="connsiteX0" fmla="*/ 2914480 w 2914480"/>
                <a:gd name="connsiteY0" fmla="*/ 0 h 257442"/>
                <a:gd name="connsiteX1" fmla="*/ 2859758 w 2914480"/>
                <a:gd name="connsiteY1" fmla="*/ 257442 h 257442"/>
                <a:gd name="connsiteX2" fmla="*/ 0 w 2914480"/>
                <a:gd name="connsiteY2" fmla="*/ 257442 h 257442"/>
                <a:gd name="connsiteX3" fmla="*/ 54722 w 2914480"/>
                <a:gd name="connsiteY3" fmla="*/ 0 h 257442"/>
                <a:gd name="connsiteX0" fmla="*/ 2914480 w 2914480"/>
                <a:gd name="connsiteY0" fmla="*/ 0 h 257442"/>
                <a:gd name="connsiteX1" fmla="*/ 2859758 w 2914480"/>
                <a:gd name="connsiteY1" fmla="*/ 257442 h 257442"/>
                <a:gd name="connsiteX2" fmla="*/ 0 w 2914480"/>
                <a:gd name="connsiteY2" fmla="*/ 257442 h 257442"/>
                <a:gd name="connsiteX3" fmla="*/ 54722 w 2914480"/>
                <a:gd name="connsiteY3" fmla="*/ 0 h 257442"/>
                <a:gd name="connsiteX0" fmla="*/ 2914480 w 2914480"/>
                <a:gd name="connsiteY0" fmla="*/ 0 h 257442"/>
                <a:gd name="connsiteX1" fmla="*/ 2859758 w 2914480"/>
                <a:gd name="connsiteY1" fmla="*/ 257442 h 257442"/>
                <a:gd name="connsiteX2" fmla="*/ 0 w 2914480"/>
                <a:gd name="connsiteY2" fmla="*/ 257442 h 257442"/>
                <a:gd name="connsiteX3" fmla="*/ 54721 w 2914480"/>
                <a:gd name="connsiteY3" fmla="*/ 0 h 257442"/>
                <a:gd name="connsiteX0" fmla="*/ 3167754 w 3167754"/>
                <a:gd name="connsiteY0" fmla="*/ 0 h 257442"/>
                <a:gd name="connsiteX1" fmla="*/ 2859758 w 3167754"/>
                <a:gd name="connsiteY1" fmla="*/ 257442 h 257442"/>
                <a:gd name="connsiteX2" fmla="*/ 0 w 3167754"/>
                <a:gd name="connsiteY2" fmla="*/ 257442 h 257442"/>
                <a:gd name="connsiteX3" fmla="*/ 54721 w 3167754"/>
                <a:gd name="connsiteY3" fmla="*/ 0 h 257442"/>
                <a:gd name="connsiteX0" fmla="*/ 3167754 w 3167754"/>
                <a:gd name="connsiteY0" fmla="*/ 0 h 257442"/>
                <a:gd name="connsiteX1" fmla="*/ 3113033 w 3167754"/>
                <a:gd name="connsiteY1" fmla="*/ 257442 h 257442"/>
                <a:gd name="connsiteX2" fmla="*/ 0 w 3167754"/>
                <a:gd name="connsiteY2" fmla="*/ 257442 h 257442"/>
                <a:gd name="connsiteX3" fmla="*/ 54721 w 3167754"/>
                <a:gd name="connsiteY3" fmla="*/ 0 h 257442"/>
                <a:gd name="connsiteX0" fmla="*/ 3167754 w 3167754"/>
                <a:gd name="connsiteY0" fmla="*/ 0 h 257442"/>
                <a:gd name="connsiteX1" fmla="*/ 3113033 w 3167754"/>
                <a:gd name="connsiteY1" fmla="*/ 257442 h 257442"/>
                <a:gd name="connsiteX2" fmla="*/ 0 w 3167754"/>
                <a:gd name="connsiteY2" fmla="*/ 257442 h 257442"/>
                <a:gd name="connsiteX3" fmla="*/ 54721 w 3167754"/>
                <a:gd name="connsiteY3" fmla="*/ 0 h 257442"/>
                <a:gd name="connsiteX0" fmla="*/ 3167754 w 3167754"/>
                <a:gd name="connsiteY0" fmla="*/ 0 h 257442"/>
                <a:gd name="connsiteX1" fmla="*/ 3113033 w 3167754"/>
                <a:gd name="connsiteY1" fmla="*/ 257442 h 257442"/>
                <a:gd name="connsiteX2" fmla="*/ 0 w 3167754"/>
                <a:gd name="connsiteY2" fmla="*/ 257442 h 257442"/>
                <a:gd name="connsiteX3" fmla="*/ 54721 w 3167754"/>
                <a:gd name="connsiteY3" fmla="*/ 0 h 257442"/>
                <a:gd name="connsiteX0" fmla="*/ 3446676 w 3446676"/>
                <a:gd name="connsiteY0" fmla="*/ 0 h 257442"/>
                <a:gd name="connsiteX1" fmla="*/ 3113033 w 3446676"/>
                <a:gd name="connsiteY1" fmla="*/ 257442 h 257442"/>
                <a:gd name="connsiteX2" fmla="*/ 0 w 3446676"/>
                <a:gd name="connsiteY2" fmla="*/ 257442 h 257442"/>
                <a:gd name="connsiteX3" fmla="*/ 54721 w 3446676"/>
                <a:gd name="connsiteY3" fmla="*/ 0 h 257442"/>
                <a:gd name="connsiteX0" fmla="*/ 3446676 w 3446676"/>
                <a:gd name="connsiteY0" fmla="*/ 0 h 257442"/>
                <a:gd name="connsiteX1" fmla="*/ 3391955 w 3446676"/>
                <a:gd name="connsiteY1" fmla="*/ 257442 h 257442"/>
                <a:gd name="connsiteX2" fmla="*/ 0 w 3446676"/>
                <a:gd name="connsiteY2" fmla="*/ 257442 h 257442"/>
                <a:gd name="connsiteX3" fmla="*/ 54721 w 3446676"/>
                <a:gd name="connsiteY3" fmla="*/ 0 h 257442"/>
                <a:gd name="connsiteX0" fmla="*/ 3446676 w 3446676"/>
                <a:gd name="connsiteY0" fmla="*/ 0 h 257442"/>
                <a:gd name="connsiteX1" fmla="*/ 3391955 w 3446676"/>
                <a:gd name="connsiteY1" fmla="*/ 257442 h 257442"/>
                <a:gd name="connsiteX2" fmla="*/ 0 w 3446676"/>
                <a:gd name="connsiteY2" fmla="*/ 257442 h 257442"/>
                <a:gd name="connsiteX3" fmla="*/ 54721 w 3446676"/>
                <a:gd name="connsiteY3" fmla="*/ 0 h 257442"/>
                <a:gd name="connsiteX0" fmla="*/ 3446676 w 3446676"/>
                <a:gd name="connsiteY0" fmla="*/ 0 h 257442"/>
                <a:gd name="connsiteX1" fmla="*/ 3391955 w 3446676"/>
                <a:gd name="connsiteY1" fmla="*/ 257442 h 257442"/>
                <a:gd name="connsiteX2" fmla="*/ 0 w 3446676"/>
                <a:gd name="connsiteY2" fmla="*/ 257442 h 257442"/>
                <a:gd name="connsiteX3" fmla="*/ 54721 w 3446676"/>
                <a:gd name="connsiteY3" fmla="*/ 0 h 257442"/>
                <a:gd name="connsiteX0" fmla="*/ 3614992 w 3614992"/>
                <a:gd name="connsiteY0" fmla="*/ 0 h 257442"/>
                <a:gd name="connsiteX1" fmla="*/ 3391955 w 3614992"/>
                <a:gd name="connsiteY1" fmla="*/ 257442 h 257442"/>
                <a:gd name="connsiteX2" fmla="*/ 0 w 3614992"/>
                <a:gd name="connsiteY2" fmla="*/ 257442 h 257442"/>
                <a:gd name="connsiteX3" fmla="*/ 54721 w 3614992"/>
                <a:gd name="connsiteY3" fmla="*/ 0 h 257442"/>
                <a:gd name="connsiteX0" fmla="*/ 3614992 w 3614992"/>
                <a:gd name="connsiteY0" fmla="*/ 0 h 257442"/>
                <a:gd name="connsiteX1" fmla="*/ 3560271 w 3614992"/>
                <a:gd name="connsiteY1" fmla="*/ 257442 h 257442"/>
                <a:gd name="connsiteX2" fmla="*/ 0 w 3614992"/>
                <a:gd name="connsiteY2" fmla="*/ 257442 h 257442"/>
                <a:gd name="connsiteX3" fmla="*/ 54721 w 3614992"/>
                <a:gd name="connsiteY3" fmla="*/ 0 h 257442"/>
                <a:gd name="connsiteX0" fmla="*/ 3614992 w 3614992"/>
                <a:gd name="connsiteY0" fmla="*/ 0 h 257442"/>
                <a:gd name="connsiteX1" fmla="*/ 3560271 w 3614992"/>
                <a:gd name="connsiteY1" fmla="*/ 257442 h 257442"/>
                <a:gd name="connsiteX2" fmla="*/ 0 w 3614992"/>
                <a:gd name="connsiteY2" fmla="*/ 257442 h 257442"/>
                <a:gd name="connsiteX3" fmla="*/ 54721 w 3614992"/>
                <a:gd name="connsiteY3" fmla="*/ 0 h 257442"/>
                <a:gd name="connsiteX0" fmla="*/ 3614992 w 3614992"/>
                <a:gd name="connsiteY0" fmla="*/ 0 h 257442"/>
                <a:gd name="connsiteX1" fmla="*/ 3560271 w 3614992"/>
                <a:gd name="connsiteY1" fmla="*/ 257442 h 257442"/>
                <a:gd name="connsiteX2" fmla="*/ 0 w 3614992"/>
                <a:gd name="connsiteY2" fmla="*/ 257442 h 257442"/>
                <a:gd name="connsiteX3" fmla="*/ 54721 w 3614992"/>
                <a:gd name="connsiteY3" fmla="*/ 0 h 257442"/>
                <a:gd name="connsiteX0" fmla="*/ 3775291 w 3775291"/>
                <a:gd name="connsiteY0" fmla="*/ 0 h 257442"/>
                <a:gd name="connsiteX1" fmla="*/ 3560271 w 3775291"/>
                <a:gd name="connsiteY1" fmla="*/ 257442 h 257442"/>
                <a:gd name="connsiteX2" fmla="*/ 0 w 3775291"/>
                <a:gd name="connsiteY2" fmla="*/ 257442 h 257442"/>
                <a:gd name="connsiteX3" fmla="*/ 54721 w 3775291"/>
                <a:gd name="connsiteY3" fmla="*/ 0 h 257442"/>
                <a:gd name="connsiteX0" fmla="*/ 3775291 w 3775291"/>
                <a:gd name="connsiteY0" fmla="*/ 0 h 257442"/>
                <a:gd name="connsiteX1" fmla="*/ 3720571 w 3775291"/>
                <a:gd name="connsiteY1" fmla="*/ 257442 h 257442"/>
                <a:gd name="connsiteX2" fmla="*/ 0 w 3775291"/>
                <a:gd name="connsiteY2" fmla="*/ 257442 h 257442"/>
                <a:gd name="connsiteX3" fmla="*/ 54721 w 3775291"/>
                <a:gd name="connsiteY3" fmla="*/ 0 h 257442"/>
                <a:gd name="connsiteX0" fmla="*/ 3775291 w 3775291"/>
                <a:gd name="connsiteY0" fmla="*/ 0 h 257442"/>
                <a:gd name="connsiteX1" fmla="*/ 3720571 w 3775291"/>
                <a:gd name="connsiteY1" fmla="*/ 257442 h 257442"/>
                <a:gd name="connsiteX2" fmla="*/ 0 w 3775291"/>
                <a:gd name="connsiteY2" fmla="*/ 257442 h 257442"/>
                <a:gd name="connsiteX3" fmla="*/ 54721 w 3775291"/>
                <a:gd name="connsiteY3" fmla="*/ 0 h 257442"/>
                <a:gd name="connsiteX0" fmla="*/ 3775291 w 3775291"/>
                <a:gd name="connsiteY0" fmla="*/ 0 h 257442"/>
                <a:gd name="connsiteX1" fmla="*/ 3720571 w 3775291"/>
                <a:gd name="connsiteY1" fmla="*/ 257442 h 257442"/>
                <a:gd name="connsiteX2" fmla="*/ 0 w 3775291"/>
                <a:gd name="connsiteY2" fmla="*/ 257442 h 257442"/>
                <a:gd name="connsiteX3" fmla="*/ 54721 w 3775291"/>
                <a:gd name="connsiteY3" fmla="*/ 0 h 257442"/>
                <a:gd name="connsiteX0" fmla="*/ 950801 w 3720571"/>
                <a:gd name="connsiteY0" fmla="*/ 0 h 257442"/>
                <a:gd name="connsiteX1" fmla="*/ 3720571 w 3720571"/>
                <a:gd name="connsiteY1" fmla="*/ 257442 h 257442"/>
                <a:gd name="connsiteX2" fmla="*/ 0 w 3720571"/>
                <a:gd name="connsiteY2" fmla="*/ 257442 h 257442"/>
                <a:gd name="connsiteX3" fmla="*/ 54721 w 372057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0 w 950801"/>
                <a:gd name="connsiteY2" fmla="*/ 257442 h 257442"/>
                <a:gd name="connsiteX3" fmla="*/ 54721 w 950801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54721 w 1111101"/>
                <a:gd name="connsiteY3" fmla="*/ 0 h 257442"/>
                <a:gd name="connsiteX0" fmla="*/ 1271402 w 1271402"/>
                <a:gd name="connsiteY0" fmla="*/ 0 h 257442"/>
                <a:gd name="connsiteX1" fmla="*/ 1056380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2 w 1271402"/>
                <a:gd name="connsiteY0" fmla="*/ 0 h 257442"/>
                <a:gd name="connsiteX1" fmla="*/ 1216680 w 1271402"/>
                <a:gd name="connsiteY1" fmla="*/ 257442 h 257442"/>
                <a:gd name="connsiteX2" fmla="*/ 0 w 1271402"/>
                <a:gd name="connsiteY2" fmla="*/ 257442 h 257442"/>
                <a:gd name="connsiteX3" fmla="*/ 54721 w 1271402"/>
                <a:gd name="connsiteY3" fmla="*/ 0 h 257442"/>
                <a:gd name="connsiteX0" fmla="*/ 1271403 w 1271403"/>
                <a:gd name="connsiteY0" fmla="*/ 0 h 257442"/>
                <a:gd name="connsiteX1" fmla="*/ 1216681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  <a:gd name="connsiteX0" fmla="*/ 1271403 w 1271403"/>
                <a:gd name="connsiteY0" fmla="*/ 0 h 257442"/>
                <a:gd name="connsiteX1" fmla="*/ 1216681 w 1271403"/>
                <a:gd name="connsiteY1" fmla="*/ 257442 h 257442"/>
                <a:gd name="connsiteX2" fmla="*/ 0 w 1271403"/>
                <a:gd name="connsiteY2" fmla="*/ 257442 h 257442"/>
                <a:gd name="connsiteX3" fmla="*/ 54722 w 127140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1403" h="257442">
                  <a:moveTo>
                    <a:pt x="1271403" y="0"/>
                  </a:moveTo>
                  <a:lnTo>
                    <a:pt x="1216681" y="257442"/>
                  </a:lnTo>
                  <a:lnTo>
                    <a:pt x="0" y="257442"/>
                  </a:lnTo>
                  <a:lnTo>
                    <a:pt x="54722" y="0"/>
                  </a:lnTo>
                  <a:close/>
                </a:path>
              </a:pathLst>
            </a:custGeom>
            <a:solidFill>
              <a:srgbClr val="B4B4B4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>
                <a:solidFill>
                  <a:schemeClr val="tx1"/>
                </a:solidFill>
              </a:endParaRPr>
            </a:p>
          </p:txBody>
        </p:sp>
        <p:sp>
          <p:nvSpPr>
            <p:cNvPr id="25" name="btfpRunningAgenda2LevelTextRight587740">
              <a:extLst>
                <a:ext uri="{FF2B5EF4-FFF2-40B4-BE49-F238E27FC236}">
                  <a16:creationId xmlns:a16="http://schemas.microsoft.com/office/drawing/2014/main" id="{E60B269C-A6ED-4665-D931-AFB87E9CAF08}"/>
                </a:ext>
              </a:extLst>
            </p:cNvPr>
            <p:cNvSpPr txBox="1"/>
            <p:nvPr/>
          </p:nvSpPr>
          <p:spPr bwMode="gray">
            <a:xfrm>
              <a:off x="4155014" y="876300"/>
              <a:ext cx="1216681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it-IT" sz="1200" b="1" cap="all" spc="450" dirty="0" err="1">
                  <a:solidFill>
                    <a:srgbClr val="FFFFFF"/>
                  </a:solidFill>
                </a:rPr>
                <a:t>nps</a:t>
              </a:r>
              <a:endParaRPr lang="it-IT" sz="1200" b="1" cap="all" spc="45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3" name="btfpColumnHeaderBox217038">
            <a:extLst>
              <a:ext uri="{FF2B5EF4-FFF2-40B4-BE49-F238E27FC236}">
                <a16:creationId xmlns:a16="http://schemas.microsoft.com/office/drawing/2014/main" id="{16AC418B-AC4B-487F-A1CB-C63B5E7C8214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38301" y="1264129"/>
            <a:ext cx="6565419" cy="321784"/>
            <a:chOff x="330200" y="1258258"/>
            <a:chExt cx="1873885" cy="321784"/>
          </a:xfrm>
        </p:grpSpPr>
        <p:sp>
          <p:nvSpPr>
            <p:cNvPr id="15" name="btfpColumnHeaderBoxText217038">
              <a:extLst>
                <a:ext uri="{FF2B5EF4-FFF2-40B4-BE49-F238E27FC236}">
                  <a16:creationId xmlns:a16="http://schemas.microsoft.com/office/drawing/2014/main" id="{7DB2F0BC-7BB8-26C8-0F9D-D31FD8EA4109}"/>
                </a:ext>
              </a:extLst>
            </p:cNvPr>
            <p:cNvSpPr txBox="1"/>
            <p:nvPr/>
          </p:nvSpPr>
          <p:spPr bwMode="gray">
            <a:xfrm>
              <a:off x="330200" y="1258258"/>
              <a:ext cx="1873885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it-IT" b="1" dirty="0">
                  <a:solidFill>
                    <a:srgbClr val="000000"/>
                  </a:solidFill>
                </a:rPr>
                <a:t>Valutazione </a:t>
              </a:r>
              <a:r>
                <a:rPr lang="it-IT" b="1" dirty="0" err="1">
                  <a:solidFill>
                    <a:srgbClr val="000000"/>
                  </a:solidFill>
                </a:rPr>
                <a:t>Trustpilot</a:t>
              </a:r>
              <a:endParaRPr lang="it-IT" b="1" dirty="0">
                <a:solidFill>
                  <a:srgbClr val="000000"/>
                </a:solidFill>
              </a:endParaRPr>
            </a:p>
          </p:txBody>
        </p:sp>
        <p:cxnSp>
          <p:nvCxnSpPr>
            <p:cNvPr id="16" name="btfpColumnHeaderBoxLine217038">
              <a:extLst>
                <a:ext uri="{FF2B5EF4-FFF2-40B4-BE49-F238E27FC236}">
                  <a16:creationId xmlns:a16="http://schemas.microsoft.com/office/drawing/2014/main" id="{C3C3BDA2-9284-E982-17FD-25E6A5DD330A}"/>
                </a:ext>
              </a:extLst>
            </p:cNvPr>
            <p:cNvCxnSpPr/>
            <p:nvPr/>
          </p:nvCxnSpPr>
          <p:spPr bwMode="gray">
            <a:xfrm>
              <a:off x="330200" y="1580042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btfpColumnHeaderBox21703874">
            <a:extLst>
              <a:ext uri="{FF2B5EF4-FFF2-40B4-BE49-F238E27FC236}">
                <a16:creationId xmlns:a16="http://schemas.microsoft.com/office/drawing/2014/main" id="{AAA051ED-DD0B-ACE4-E4D7-0ED06E9E47F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7495297" y="1260748"/>
            <a:ext cx="4361741" cy="325165"/>
            <a:chOff x="330200" y="1263832"/>
            <a:chExt cx="1873885" cy="325165"/>
          </a:xfrm>
        </p:grpSpPr>
        <p:sp>
          <p:nvSpPr>
            <p:cNvPr id="18" name="btfpColumnHeaderBoxText217038">
              <a:extLst>
                <a:ext uri="{FF2B5EF4-FFF2-40B4-BE49-F238E27FC236}">
                  <a16:creationId xmlns:a16="http://schemas.microsoft.com/office/drawing/2014/main" id="{1588B0F0-432C-BA46-D1A1-8D2FECF2C7D3}"/>
                </a:ext>
              </a:extLst>
            </p:cNvPr>
            <p:cNvSpPr txBox="1"/>
            <p:nvPr/>
          </p:nvSpPr>
          <p:spPr bwMode="gray">
            <a:xfrm>
              <a:off x="330200" y="1263832"/>
              <a:ext cx="1873885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it-IT" b="1" dirty="0">
                  <a:solidFill>
                    <a:srgbClr val="000000"/>
                  </a:solidFill>
                </a:rPr>
                <a:t>Punti di forza principali</a:t>
              </a:r>
            </a:p>
          </p:txBody>
        </p:sp>
        <p:cxnSp>
          <p:nvCxnSpPr>
            <p:cNvPr id="20" name="btfpColumnHeaderBoxLine217038">
              <a:extLst>
                <a:ext uri="{FF2B5EF4-FFF2-40B4-BE49-F238E27FC236}">
                  <a16:creationId xmlns:a16="http://schemas.microsoft.com/office/drawing/2014/main" id="{077459DE-8ECC-8686-0B8D-DA1DB015CA6F}"/>
                </a:ext>
              </a:extLst>
            </p:cNvPr>
            <p:cNvCxnSpPr/>
            <p:nvPr/>
          </p:nvCxnSpPr>
          <p:spPr bwMode="gray">
            <a:xfrm>
              <a:off x="330200" y="1588997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0389F409-625A-C5CC-7B2F-8015DAC5C8C1}"/>
              </a:ext>
            </a:extLst>
          </p:cNvPr>
          <p:cNvSpPr txBox="1"/>
          <p:nvPr/>
        </p:nvSpPr>
        <p:spPr bwMode="gray">
          <a:xfrm>
            <a:off x="1552593" y="2555394"/>
            <a:ext cx="685050" cy="38048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36000" tIns="36000" rIns="36000" bIns="36000" rtlCol="0" anchor="ctr">
            <a:spAutoFit/>
          </a:bodyPr>
          <a:lstStyle/>
          <a:p>
            <a:pPr marL="0" indent="0">
              <a:buNone/>
              <a:defRPr/>
            </a:pPr>
            <a:r>
              <a:rPr lang="it-IT" sz="2000" b="1" dirty="0">
                <a:solidFill>
                  <a:srgbClr val="620013"/>
                </a:solidFill>
                <a:cs typeface="Arial" panose="020B0604020202020204" pitchFamily="34" charset="0"/>
              </a:rPr>
              <a:t>4.5</a:t>
            </a:r>
            <a:r>
              <a:rPr lang="it-IT" sz="1100" dirty="0">
                <a:solidFill>
                  <a:srgbClr val="620013"/>
                </a:solidFill>
                <a:cs typeface="Arial" panose="020B0604020202020204" pitchFamily="34" charset="0"/>
              </a:rPr>
              <a:t>/5.0</a:t>
            </a:r>
            <a:endParaRPr lang="it-IT" sz="2000" dirty="0">
              <a:solidFill>
                <a:srgbClr val="620013"/>
              </a:solidFill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7F15918-13FF-C246-A73C-B5234C488477}"/>
              </a:ext>
            </a:extLst>
          </p:cNvPr>
          <p:cNvSpPr txBox="1"/>
          <p:nvPr/>
        </p:nvSpPr>
        <p:spPr bwMode="gray">
          <a:xfrm>
            <a:off x="1552593" y="4837365"/>
            <a:ext cx="685050" cy="38048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36000" tIns="36000" rIns="36000" bIns="36000" rtlCol="0" anchor="ctr">
            <a:spAutoFit/>
          </a:bodyPr>
          <a:lstStyle/>
          <a:p>
            <a:pPr marL="0" indent="0">
              <a:buNone/>
            </a:pPr>
            <a:r>
              <a:rPr lang="it-IT" sz="2000" b="1" dirty="0">
                <a:ln w="19050">
                  <a:noFill/>
                  <a:miter lim="800000"/>
                </a:ln>
                <a:solidFill>
                  <a:srgbClr val="5C5C5C"/>
                </a:solidFill>
              </a:rPr>
              <a:t>4.0</a:t>
            </a:r>
            <a:r>
              <a:rPr lang="it-IT" sz="1100" dirty="0">
                <a:solidFill>
                  <a:srgbClr val="5C5C5C"/>
                </a:solidFill>
                <a:cs typeface="Arial" panose="020B0604020202020204" pitchFamily="34" charset="0"/>
              </a:rPr>
              <a:t>/5.0</a:t>
            </a:r>
            <a:endParaRPr lang="it-IT" sz="4000" dirty="0">
              <a:ln w="19050">
                <a:noFill/>
                <a:miter lim="800000"/>
              </a:ln>
              <a:solidFill>
                <a:srgbClr val="5C5C5C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77C69B6-481C-E8CE-40B0-18C4A40ECB2D}"/>
              </a:ext>
            </a:extLst>
          </p:cNvPr>
          <p:cNvSpPr txBox="1"/>
          <p:nvPr/>
        </p:nvSpPr>
        <p:spPr bwMode="gray">
          <a:xfrm>
            <a:off x="1552593" y="5598020"/>
            <a:ext cx="685050" cy="38048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36000" tIns="36000" rIns="36000" bIns="36000" rtlCol="0" anchor="ctr">
            <a:spAutoFit/>
          </a:bodyPr>
          <a:lstStyle/>
          <a:p>
            <a:pPr marL="0" indent="0">
              <a:buNone/>
            </a:pPr>
            <a:r>
              <a:rPr lang="it-IT" sz="2000" b="1" dirty="0">
                <a:ln w="19050">
                  <a:noFill/>
                  <a:miter lim="800000"/>
                </a:ln>
                <a:solidFill>
                  <a:srgbClr val="5C5C5C"/>
                </a:solidFill>
              </a:rPr>
              <a:t>3.3</a:t>
            </a:r>
            <a:r>
              <a:rPr lang="it-IT" sz="1100" dirty="0">
                <a:solidFill>
                  <a:srgbClr val="5C5C5C"/>
                </a:solidFill>
                <a:cs typeface="Arial" panose="020B0604020202020204" pitchFamily="34" charset="0"/>
              </a:rPr>
              <a:t>/5.0</a:t>
            </a:r>
            <a:endParaRPr lang="it-IT" sz="2000" dirty="0">
              <a:ln w="19050">
                <a:noFill/>
                <a:miter lim="800000"/>
              </a:ln>
              <a:solidFill>
                <a:srgbClr val="5C5C5C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FC111BA-E213-513D-5B7B-5D7DA500B34B}"/>
              </a:ext>
            </a:extLst>
          </p:cNvPr>
          <p:cNvSpPr txBox="1"/>
          <p:nvPr/>
        </p:nvSpPr>
        <p:spPr bwMode="gray">
          <a:xfrm>
            <a:off x="1552593" y="3316051"/>
            <a:ext cx="685050" cy="38048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36000" tIns="36000" rIns="36000" bIns="36000" rtlCol="0" anchor="ctr">
            <a:spAutoFit/>
          </a:bodyPr>
          <a:lstStyle>
            <a:defPPr>
              <a:defRPr lang="en-US"/>
            </a:defPPr>
            <a:lvl1pPr marL="0" indent="0">
              <a:buNone/>
              <a:defRPr sz="3200" b="1">
                <a:solidFill>
                  <a:srgbClr val="CC0000"/>
                </a:solidFill>
                <a:cs typeface="Arial" panose="020B0604020202020204" pitchFamily="34" charset="0"/>
              </a:defRPr>
            </a:lvl1pPr>
          </a:lstStyle>
          <a:p>
            <a:r>
              <a:rPr lang="it-IT" sz="2000" dirty="0">
                <a:solidFill>
                  <a:srgbClr val="620013"/>
                </a:solidFill>
              </a:rPr>
              <a:t>4.4</a:t>
            </a:r>
            <a:r>
              <a:rPr lang="it-IT" sz="1100" b="0" dirty="0">
                <a:solidFill>
                  <a:srgbClr val="620013"/>
                </a:solidFill>
              </a:rPr>
              <a:t>/5.0</a:t>
            </a:r>
            <a:endParaRPr lang="it-IT" sz="2000" b="0" dirty="0">
              <a:solidFill>
                <a:srgbClr val="620013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C8038B4-94E5-2472-C732-81A7EA1A8BDD}"/>
              </a:ext>
            </a:extLst>
          </p:cNvPr>
          <p:cNvSpPr txBox="1"/>
          <p:nvPr/>
        </p:nvSpPr>
        <p:spPr bwMode="gray">
          <a:xfrm>
            <a:off x="1552593" y="4076708"/>
            <a:ext cx="685050" cy="38048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36000" tIns="36000" rIns="36000" bIns="36000" rtlCol="0" anchor="ctr">
            <a:spAutoFit/>
          </a:bodyPr>
          <a:lstStyle/>
          <a:p>
            <a:pPr marL="0" indent="0">
              <a:buNone/>
            </a:pPr>
            <a:r>
              <a:rPr lang="it-IT" sz="2000" b="1" dirty="0">
                <a:ln w="19050">
                  <a:noFill/>
                  <a:miter lim="800000"/>
                </a:ln>
                <a:solidFill>
                  <a:srgbClr val="5C5C5C"/>
                </a:solidFill>
              </a:rPr>
              <a:t>4.3</a:t>
            </a:r>
            <a:r>
              <a:rPr lang="it-IT" sz="1100" dirty="0">
                <a:solidFill>
                  <a:srgbClr val="5C5C5C"/>
                </a:solidFill>
                <a:cs typeface="Arial" panose="020B0604020202020204" pitchFamily="34" charset="0"/>
              </a:rPr>
              <a:t>/5.0</a:t>
            </a:r>
            <a:endParaRPr lang="it-IT" sz="2000" dirty="0">
              <a:ln w="19050">
                <a:noFill/>
                <a:miter lim="800000"/>
              </a:ln>
              <a:solidFill>
                <a:srgbClr val="5C5C5C"/>
              </a:solidFill>
            </a:endParaRPr>
          </a:p>
        </p:txBody>
      </p:sp>
      <p:pic>
        <p:nvPicPr>
          <p:cNvPr id="35" name="Picture 4">
            <a:extLst>
              <a:ext uri="{FF2B5EF4-FFF2-40B4-BE49-F238E27FC236}">
                <a16:creationId xmlns:a16="http://schemas.microsoft.com/office/drawing/2014/main" id="{755FAB5F-276F-0428-4839-F49DDFD749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167" y="2502209"/>
            <a:ext cx="620624" cy="486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6" descr="Università Telematica Internazionale UniNettuno - CFU ...">
            <a:extLst>
              <a:ext uri="{FF2B5EF4-FFF2-40B4-BE49-F238E27FC236}">
                <a16:creationId xmlns:a16="http://schemas.microsoft.com/office/drawing/2014/main" id="{28C5E865-7D04-E4DF-8D58-2B054D368C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167" y="4023523"/>
            <a:ext cx="585688" cy="486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8" descr="Logo-eCampus-Nuovo-Verticale-Blu-Azzurro-1 - TTS Centro ...">
            <a:extLst>
              <a:ext uri="{FF2B5EF4-FFF2-40B4-BE49-F238E27FC236}">
                <a16:creationId xmlns:a16="http://schemas.microsoft.com/office/drawing/2014/main" id="{04A8A48B-6986-F0DA-0421-8FD0EB35D3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167" y="4784180"/>
            <a:ext cx="486852" cy="486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0">
            <a:extLst>
              <a:ext uri="{FF2B5EF4-FFF2-40B4-BE49-F238E27FC236}">
                <a16:creationId xmlns:a16="http://schemas.microsoft.com/office/drawing/2014/main" id="{DD106976-3C1F-620E-AED2-587D3C688F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167" y="5653412"/>
            <a:ext cx="938079" cy="269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AF8F0792-D799-A170-F4F2-F7B58DDFA5A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40167" y="3319079"/>
            <a:ext cx="938079" cy="374426"/>
          </a:xfrm>
          <a:prstGeom prst="rect">
            <a:avLst/>
          </a:prstGeom>
        </p:spPr>
      </p:pic>
      <p:sp>
        <p:nvSpPr>
          <p:cNvPr id="40" name="Rectangle 11">
            <a:extLst>
              <a:ext uri="{FF2B5EF4-FFF2-40B4-BE49-F238E27FC236}">
                <a16:creationId xmlns:a16="http://schemas.microsoft.com/office/drawing/2014/main" id="{6857DB73-1692-AEB6-F74E-5B41B02349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23158" y="2502209"/>
            <a:ext cx="4280561" cy="486852"/>
          </a:xfrm>
          <a:prstGeom prst="rect">
            <a:avLst/>
          </a:prstGeom>
          <a:solidFill>
            <a:srgbClr val="D6D6D6"/>
          </a:solidFill>
          <a:ln>
            <a:noFill/>
          </a:ln>
        </p:spPr>
        <p:txBody>
          <a:bodyPr vert="horz" wrap="square" lIns="86817" tIns="43408" rIns="86817" bIns="43408" numCol="1" anchor="t" anchorCtr="0" compatLnSpc="1">
            <a:prstTxWarp prst="textNoShape">
              <a:avLst/>
            </a:prstTxWarp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it-IT" sz="16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Rectangle 1110">
            <a:extLst>
              <a:ext uri="{FF2B5EF4-FFF2-40B4-BE49-F238E27FC236}">
                <a16:creationId xmlns:a16="http://schemas.microsoft.com/office/drawing/2014/main" id="{F4939CB0-DD27-0D37-BEE1-351708F667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23158" y="2502209"/>
            <a:ext cx="3375475" cy="486852"/>
          </a:xfrm>
          <a:prstGeom prst="rect">
            <a:avLst/>
          </a:prstGeom>
          <a:solidFill>
            <a:srgbClr val="620013"/>
          </a:solidFill>
          <a:ln w="12700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dirty="0"/>
          </a:p>
        </p:txBody>
      </p:sp>
      <p:sp>
        <p:nvSpPr>
          <p:cNvPr id="42" name="Rectangle 1111">
            <a:extLst>
              <a:ext uri="{FF2B5EF4-FFF2-40B4-BE49-F238E27FC236}">
                <a16:creationId xmlns:a16="http://schemas.microsoft.com/office/drawing/2014/main" id="{CE48011C-B118-670B-CB7E-9B993D1B0F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23159" y="4784180"/>
            <a:ext cx="4280561" cy="486852"/>
          </a:xfrm>
          <a:prstGeom prst="rect">
            <a:avLst/>
          </a:prstGeom>
          <a:solidFill>
            <a:srgbClr val="D6D6D6"/>
          </a:solidFill>
          <a:ln>
            <a:noFill/>
          </a:ln>
        </p:spPr>
        <p:txBody>
          <a:bodyPr vert="horz" wrap="square" lIns="86817" tIns="43408" rIns="86817" bIns="43408" numCol="1" anchor="t" anchorCtr="0" compatLnSpc="1">
            <a:prstTxWarp prst="textNoShape">
              <a:avLst/>
            </a:prstTxWarp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it-IT" sz="16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Rectangle 1112">
            <a:extLst>
              <a:ext uri="{FF2B5EF4-FFF2-40B4-BE49-F238E27FC236}">
                <a16:creationId xmlns:a16="http://schemas.microsoft.com/office/drawing/2014/main" id="{F927C33C-4CC8-1CA1-9D60-F0BFD10274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23158" y="4784180"/>
            <a:ext cx="2182445" cy="486852"/>
          </a:xfrm>
          <a:prstGeom prst="rect">
            <a:avLst/>
          </a:prstGeom>
          <a:solidFill>
            <a:srgbClr val="5C5C5C"/>
          </a:solidFill>
          <a:ln>
            <a:noFill/>
          </a:ln>
        </p:spPr>
        <p:txBody>
          <a:bodyPr vert="horz" wrap="square" lIns="86817" tIns="43408" rIns="86817" bIns="43408" numCol="1" anchor="t" anchorCtr="0" compatLnSpc="1">
            <a:prstTxWarp prst="textNoShape">
              <a:avLst/>
            </a:prstTxWarp>
          </a:bodyPr>
          <a:lstStyle/>
          <a:p>
            <a:endParaRPr lang="it-IT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" name="Rectangle 1113">
            <a:extLst>
              <a:ext uri="{FF2B5EF4-FFF2-40B4-BE49-F238E27FC236}">
                <a16:creationId xmlns:a16="http://schemas.microsoft.com/office/drawing/2014/main" id="{CEC91305-7B92-C4CC-E74D-6E34292E46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23158" y="5544835"/>
            <a:ext cx="4280561" cy="486852"/>
          </a:xfrm>
          <a:prstGeom prst="rect">
            <a:avLst/>
          </a:prstGeom>
          <a:solidFill>
            <a:srgbClr val="D6D6D6"/>
          </a:solidFill>
          <a:ln>
            <a:noFill/>
          </a:ln>
        </p:spPr>
        <p:txBody>
          <a:bodyPr vert="horz" wrap="square" lIns="86817" tIns="43408" rIns="86817" bIns="43408" numCol="1" anchor="t" anchorCtr="0" compatLnSpc="1">
            <a:prstTxWarp prst="textNoShape">
              <a:avLst/>
            </a:prstTxWarp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it-IT" sz="16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ctangle 1114">
            <a:extLst>
              <a:ext uri="{FF2B5EF4-FFF2-40B4-BE49-F238E27FC236}">
                <a16:creationId xmlns:a16="http://schemas.microsoft.com/office/drawing/2014/main" id="{BE38C8BA-30D6-9ACD-E11D-D163A3C3E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23158" y="5544835"/>
            <a:ext cx="2068499" cy="486852"/>
          </a:xfrm>
          <a:prstGeom prst="rect">
            <a:avLst/>
          </a:prstGeom>
          <a:solidFill>
            <a:srgbClr val="5C5C5C"/>
          </a:solidFill>
          <a:ln>
            <a:noFill/>
          </a:ln>
        </p:spPr>
        <p:txBody>
          <a:bodyPr vert="horz" wrap="square" lIns="86817" tIns="43408" rIns="86817" bIns="43408" numCol="1" anchor="t" anchorCtr="0" compatLnSpc="1">
            <a:prstTxWarp prst="textNoShape">
              <a:avLst/>
            </a:prstTxWarp>
          </a:bodyPr>
          <a:lstStyle/>
          <a:p>
            <a:endParaRPr lang="it-IT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6" name="Rectangle 1115">
            <a:extLst>
              <a:ext uri="{FF2B5EF4-FFF2-40B4-BE49-F238E27FC236}">
                <a16:creationId xmlns:a16="http://schemas.microsoft.com/office/drawing/2014/main" id="{9B5B1001-3875-E0AA-71AD-1521675AF3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23158" y="3262866"/>
            <a:ext cx="4280561" cy="486852"/>
          </a:xfrm>
          <a:prstGeom prst="rect">
            <a:avLst/>
          </a:prstGeom>
          <a:solidFill>
            <a:srgbClr val="D6D6D6"/>
          </a:solidFill>
          <a:ln>
            <a:noFill/>
          </a:ln>
        </p:spPr>
        <p:txBody>
          <a:bodyPr vert="horz" wrap="square" lIns="86817" tIns="43408" rIns="86817" bIns="43408" numCol="1" anchor="t" anchorCtr="0" compatLnSpc="1">
            <a:prstTxWarp prst="textNoShape">
              <a:avLst/>
            </a:prstTxWarp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it-IT" sz="16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Rectangle 1116">
            <a:extLst>
              <a:ext uri="{FF2B5EF4-FFF2-40B4-BE49-F238E27FC236}">
                <a16:creationId xmlns:a16="http://schemas.microsoft.com/office/drawing/2014/main" id="{D3FD870C-FBDD-3965-3416-2C6DA31327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23158" y="3262866"/>
            <a:ext cx="3285926" cy="486852"/>
          </a:xfrm>
          <a:prstGeom prst="rect">
            <a:avLst/>
          </a:prstGeom>
          <a:solidFill>
            <a:srgbClr val="620013"/>
          </a:solidFill>
          <a:ln w="12700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dirty="0"/>
          </a:p>
        </p:txBody>
      </p:sp>
      <p:sp>
        <p:nvSpPr>
          <p:cNvPr id="48" name="Rectangle 1117">
            <a:extLst>
              <a:ext uri="{FF2B5EF4-FFF2-40B4-BE49-F238E27FC236}">
                <a16:creationId xmlns:a16="http://schemas.microsoft.com/office/drawing/2014/main" id="{4679A2A0-0125-1766-82FA-3B255E0CAB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23158" y="4023523"/>
            <a:ext cx="4280561" cy="486852"/>
          </a:xfrm>
          <a:prstGeom prst="rect">
            <a:avLst/>
          </a:prstGeom>
          <a:solidFill>
            <a:srgbClr val="D6D6D6"/>
          </a:solidFill>
          <a:ln>
            <a:noFill/>
          </a:ln>
        </p:spPr>
        <p:txBody>
          <a:bodyPr vert="horz" wrap="square" lIns="86817" tIns="43408" rIns="86817" bIns="43408" numCol="1" anchor="t" anchorCtr="0" compatLnSpc="1">
            <a:prstTxWarp prst="textNoShape">
              <a:avLst/>
            </a:prstTxWarp>
          </a:bodyPr>
          <a:lstStyle/>
          <a:p>
            <a:pPr marL="177800" marR="0" lvl="0" indent="-17780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it-IT" sz="16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Rectangle 1118">
            <a:extLst>
              <a:ext uri="{FF2B5EF4-FFF2-40B4-BE49-F238E27FC236}">
                <a16:creationId xmlns:a16="http://schemas.microsoft.com/office/drawing/2014/main" id="{B162E131-C36E-A5CC-EBFB-B11CFDACAB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23158" y="4023523"/>
            <a:ext cx="2224017" cy="486852"/>
          </a:xfrm>
          <a:prstGeom prst="rect">
            <a:avLst/>
          </a:prstGeom>
          <a:solidFill>
            <a:srgbClr val="5C5C5C"/>
          </a:solidFill>
          <a:ln>
            <a:noFill/>
          </a:ln>
        </p:spPr>
        <p:txBody>
          <a:bodyPr vert="horz" wrap="square" lIns="86817" tIns="43408" rIns="86817" bIns="43408" numCol="1" anchor="t" anchorCtr="0" compatLnSpc="1">
            <a:prstTxWarp prst="textNoShape">
              <a:avLst/>
            </a:prstTxWarp>
          </a:bodyPr>
          <a:lstStyle/>
          <a:p>
            <a:endParaRPr lang="it-IT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9C4F51C-1F97-8999-0093-E121B40D9399}"/>
              </a:ext>
            </a:extLst>
          </p:cNvPr>
          <p:cNvSpPr txBox="1"/>
          <p:nvPr/>
        </p:nvSpPr>
        <p:spPr bwMode="gray">
          <a:xfrm>
            <a:off x="5943603" y="3316051"/>
            <a:ext cx="585664" cy="38048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36000" tIns="36000" rIns="36000" bIns="36000" rtlCol="0" anchor="ctr">
            <a:spAutoFit/>
          </a:bodyPr>
          <a:lstStyle>
            <a:defPPr>
              <a:defRPr lang="en-US"/>
            </a:defPPr>
            <a:lvl1pPr marL="0" indent="0">
              <a:buNone/>
              <a:defRPr sz="3200" b="1">
                <a:solidFill>
                  <a:srgbClr val="CC0000"/>
                </a:solidFill>
                <a:cs typeface="Arial" panose="020B0604020202020204" pitchFamily="34" charset="0"/>
              </a:defRPr>
            </a:lvl1pPr>
          </a:lstStyle>
          <a:p>
            <a:r>
              <a:rPr lang="it-IT" sz="2000" dirty="0">
                <a:solidFill>
                  <a:srgbClr val="620013"/>
                </a:solidFill>
              </a:rPr>
              <a:t>88%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2A74F37-203A-1DAE-A505-23A139AF8A51}"/>
              </a:ext>
            </a:extLst>
          </p:cNvPr>
          <p:cNvSpPr txBox="1"/>
          <p:nvPr/>
        </p:nvSpPr>
        <p:spPr bwMode="gray">
          <a:xfrm>
            <a:off x="6029328" y="2553893"/>
            <a:ext cx="585664" cy="38048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 lIns="36000" tIns="36000" rIns="36000" bIns="36000" rtlCol="0" anchor="ctr">
            <a:spAutoFit/>
          </a:bodyPr>
          <a:lstStyle>
            <a:defPPr>
              <a:defRPr lang="en-US"/>
            </a:defPPr>
            <a:lvl1pPr marL="0" indent="0">
              <a:buNone/>
              <a:defRPr sz="3200" b="1">
                <a:solidFill>
                  <a:srgbClr val="CC0000"/>
                </a:solidFill>
                <a:cs typeface="Arial" panose="020B0604020202020204" pitchFamily="34" charset="0"/>
              </a:defRPr>
            </a:lvl1pPr>
          </a:lstStyle>
          <a:p>
            <a:r>
              <a:rPr lang="it-IT" sz="2000" dirty="0">
                <a:solidFill>
                  <a:srgbClr val="620013"/>
                </a:solidFill>
              </a:rPr>
              <a:t>90%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E552B34-E558-20BE-6DD0-37CE37D27FD5}"/>
              </a:ext>
            </a:extLst>
          </p:cNvPr>
          <p:cNvSpPr txBox="1"/>
          <p:nvPr/>
        </p:nvSpPr>
        <p:spPr bwMode="gray">
          <a:xfrm>
            <a:off x="4871060" y="4076708"/>
            <a:ext cx="585664" cy="380480"/>
          </a:xfrm>
          <a:prstGeom prst="rect">
            <a:avLst/>
          </a:prstGeom>
        </p:spPr>
        <p:txBody>
          <a:bodyPr wrap="none" lIns="36000" tIns="36000" rIns="36000" bIns="36000" rtlCol="0" anchor="ctr">
            <a:spAutoFit/>
          </a:bodyPr>
          <a:lstStyle>
            <a:defPPr>
              <a:defRPr lang="en-US"/>
            </a:defPPr>
            <a:lvl1pPr marL="0" indent="0">
              <a:buNone/>
              <a:defRPr sz="3200" b="1">
                <a:solidFill>
                  <a:srgbClr val="CC0000"/>
                </a:solidFill>
                <a:cs typeface="Arial" panose="020B0604020202020204" pitchFamily="34" charset="0"/>
              </a:defRPr>
            </a:lvl1pPr>
          </a:lstStyle>
          <a:p>
            <a:r>
              <a:rPr lang="it-IT" sz="2000" dirty="0">
                <a:ln w="19050">
                  <a:noFill/>
                  <a:miter lim="800000"/>
                </a:ln>
                <a:solidFill>
                  <a:srgbClr val="5C5C5C"/>
                </a:solidFill>
                <a:cs typeface="+mn-cs"/>
              </a:rPr>
              <a:t>74%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64315E4-DB29-A75B-D2EC-DED82251140A}"/>
              </a:ext>
            </a:extLst>
          </p:cNvPr>
          <p:cNvSpPr txBox="1"/>
          <p:nvPr/>
        </p:nvSpPr>
        <p:spPr bwMode="gray">
          <a:xfrm>
            <a:off x="4826916" y="4837365"/>
            <a:ext cx="585664" cy="380480"/>
          </a:xfrm>
          <a:prstGeom prst="rect">
            <a:avLst/>
          </a:prstGeom>
        </p:spPr>
        <p:txBody>
          <a:bodyPr wrap="none" lIns="36000" tIns="36000" rIns="36000" bIns="36000" rtlCol="0" anchor="ctr">
            <a:spAutoFit/>
          </a:bodyPr>
          <a:lstStyle>
            <a:defPPr>
              <a:defRPr lang="en-US"/>
            </a:defPPr>
            <a:lvl1pPr marL="0" indent="0">
              <a:buNone/>
              <a:defRPr sz="3200" b="1">
                <a:solidFill>
                  <a:srgbClr val="CC0000"/>
                </a:solidFill>
                <a:cs typeface="Arial" panose="020B0604020202020204" pitchFamily="34" charset="0"/>
              </a:defRPr>
            </a:lvl1pPr>
          </a:lstStyle>
          <a:p>
            <a:r>
              <a:rPr lang="it-IT" sz="2000" dirty="0">
                <a:ln w="19050">
                  <a:noFill/>
                  <a:miter lim="800000"/>
                </a:ln>
                <a:solidFill>
                  <a:srgbClr val="5C5C5C"/>
                </a:solidFill>
                <a:cs typeface="+mn-cs"/>
              </a:rPr>
              <a:t>73%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7F9218A-933F-1251-A0B2-6CB5664F5400}"/>
              </a:ext>
            </a:extLst>
          </p:cNvPr>
          <p:cNvSpPr txBox="1"/>
          <p:nvPr/>
        </p:nvSpPr>
        <p:spPr bwMode="gray">
          <a:xfrm>
            <a:off x="4723095" y="5598020"/>
            <a:ext cx="585664" cy="380480"/>
          </a:xfrm>
          <a:prstGeom prst="rect">
            <a:avLst/>
          </a:prstGeom>
        </p:spPr>
        <p:txBody>
          <a:bodyPr wrap="none" lIns="36000" tIns="36000" rIns="36000" bIns="36000" rtlCol="0" anchor="ctr">
            <a:spAutoFit/>
          </a:bodyPr>
          <a:lstStyle>
            <a:defPPr>
              <a:defRPr lang="en-US"/>
            </a:defPPr>
            <a:lvl1pPr marL="0" indent="0">
              <a:buNone/>
              <a:defRPr sz="3200" b="1">
                <a:solidFill>
                  <a:srgbClr val="CC0000"/>
                </a:solidFill>
                <a:cs typeface="Arial" panose="020B0604020202020204" pitchFamily="34" charset="0"/>
              </a:defRPr>
            </a:lvl1pPr>
          </a:lstStyle>
          <a:p>
            <a:r>
              <a:rPr lang="it-IT" sz="2000" dirty="0">
                <a:ln w="19050">
                  <a:noFill/>
                  <a:miter lim="800000"/>
                </a:ln>
                <a:solidFill>
                  <a:srgbClr val="5C5C5C"/>
                </a:solidFill>
                <a:cs typeface="+mn-cs"/>
              </a:rPr>
              <a:t>71%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DA30E219-E59A-EB63-F586-00FC6748991E}"/>
              </a:ext>
            </a:extLst>
          </p:cNvPr>
          <p:cNvCxnSpPr>
            <a:cxnSpLocks/>
          </p:cNvCxnSpPr>
          <p:nvPr/>
        </p:nvCxnSpPr>
        <p:spPr bwMode="gray">
          <a:xfrm>
            <a:off x="2623157" y="2175808"/>
            <a:ext cx="4280562" cy="391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58">
            <a:extLst>
              <a:ext uri="{FF2B5EF4-FFF2-40B4-BE49-F238E27FC236}">
                <a16:creationId xmlns:a16="http://schemas.microsoft.com/office/drawing/2014/main" id="{8B03B9AC-71B9-DFE0-DB6C-712E41AE1F69}"/>
              </a:ext>
            </a:extLst>
          </p:cNvPr>
          <p:cNvSpPr/>
          <p:nvPr/>
        </p:nvSpPr>
        <p:spPr bwMode="gray">
          <a:xfrm>
            <a:off x="2623157" y="2065494"/>
            <a:ext cx="3489220" cy="22101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8000" tIns="18000" rIns="18000" bIns="18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it-IT" sz="1200" b="1" dirty="0">
                <a:solidFill>
                  <a:srgbClr val="000000"/>
                </a:solidFill>
              </a:rPr>
              <a:t>% di recensioni molto positive (maggiori di 3/5)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B256C61-FAB7-07A9-DCBF-0C8446FDCD84}"/>
              </a:ext>
            </a:extLst>
          </p:cNvPr>
          <p:cNvCxnSpPr>
            <a:cxnSpLocks/>
          </p:cNvCxnSpPr>
          <p:nvPr/>
        </p:nvCxnSpPr>
        <p:spPr bwMode="gray">
          <a:xfrm>
            <a:off x="340167" y="2175808"/>
            <a:ext cx="2079183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A23A8026-E03E-8E94-C747-DA6D1BB18F3F}"/>
              </a:ext>
            </a:extLst>
          </p:cNvPr>
          <p:cNvSpPr/>
          <p:nvPr/>
        </p:nvSpPr>
        <p:spPr bwMode="gray">
          <a:xfrm>
            <a:off x="340167" y="2065494"/>
            <a:ext cx="778542" cy="22101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8000" tIns="18000" rIns="18000" bIns="18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indent="0">
              <a:buNone/>
            </a:pPr>
            <a:r>
              <a:rPr lang="it-IT" sz="1200" b="1" dirty="0">
                <a:solidFill>
                  <a:srgbClr val="000000"/>
                </a:solidFill>
              </a:rPr>
              <a:t>Università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0035064-3E9A-6A54-CC1F-5E4FF45C4BF7}"/>
              </a:ext>
            </a:extLst>
          </p:cNvPr>
          <p:cNvSpPr txBox="1"/>
          <p:nvPr/>
        </p:nvSpPr>
        <p:spPr bwMode="gray">
          <a:xfrm>
            <a:off x="320677" y="1669027"/>
            <a:ext cx="658304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it-IT" sz="1400" b="1" dirty="0"/>
              <a:t>Pegaso</a:t>
            </a:r>
            <a:r>
              <a:rPr lang="it-IT" sz="1400" dirty="0"/>
              <a:t> e </a:t>
            </a:r>
            <a:r>
              <a:rPr lang="it-IT" sz="1400" b="1" dirty="0" err="1"/>
              <a:t>Mercatorum</a:t>
            </a:r>
            <a:r>
              <a:rPr lang="it-IT" sz="1400" dirty="0"/>
              <a:t> </a:t>
            </a:r>
            <a:r>
              <a:rPr lang="it-IT" sz="1400" b="1" dirty="0"/>
              <a:t>superano</a:t>
            </a:r>
            <a:r>
              <a:rPr lang="it-IT" sz="1400" dirty="0"/>
              <a:t> altre principali </a:t>
            </a:r>
            <a:r>
              <a:rPr lang="it-IT" sz="1400" b="1" dirty="0"/>
              <a:t>università online italiane</a:t>
            </a:r>
            <a:r>
              <a:rPr lang="it-IT" sz="1400" dirty="0"/>
              <a:t>...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CB71FB45-0A28-19BE-DFEA-908243F82F90}"/>
              </a:ext>
            </a:extLst>
          </p:cNvPr>
          <p:cNvSpPr txBox="1"/>
          <p:nvPr/>
        </p:nvSpPr>
        <p:spPr bwMode="gray">
          <a:xfrm>
            <a:off x="7495297" y="1669027"/>
            <a:ext cx="436174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it-IT" sz="1400" dirty="0"/>
              <a:t>... principalmente grazie alla </a:t>
            </a:r>
            <a:r>
              <a:rPr lang="it-IT" sz="1400" b="1" dirty="0"/>
              <a:t>flessibilità</a:t>
            </a:r>
            <a:r>
              <a:rPr lang="it-IT" sz="1400" dirty="0"/>
              <a:t>, alla </a:t>
            </a:r>
            <a:r>
              <a:rPr lang="it-IT" sz="1400" b="1" dirty="0"/>
              <a:t>qualità</a:t>
            </a:r>
            <a:r>
              <a:rPr lang="it-IT" sz="1400" dirty="0"/>
              <a:t> </a:t>
            </a:r>
            <a:r>
              <a:rPr lang="it-IT" sz="1400" b="1" dirty="0"/>
              <a:t>del materiale </a:t>
            </a:r>
            <a:r>
              <a:rPr lang="it-IT" sz="1400" dirty="0"/>
              <a:t>e alla </a:t>
            </a:r>
            <a:r>
              <a:rPr lang="it-IT" sz="1400" b="1" dirty="0"/>
              <a:t>convenienza economica</a:t>
            </a:r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9C156FD1-773C-A675-8F78-1B3A8C2A09E3}"/>
              </a:ext>
            </a:extLst>
          </p:cNvPr>
          <p:cNvGrpSpPr/>
          <p:nvPr/>
        </p:nvGrpSpPr>
        <p:grpSpPr>
          <a:xfrm>
            <a:off x="8335510" y="2340152"/>
            <a:ext cx="3521528" cy="1410901"/>
            <a:chOff x="8335510" y="2346588"/>
            <a:chExt cx="3521528" cy="1410901"/>
          </a:xfrm>
        </p:grpSpPr>
        <p:sp>
          <p:nvSpPr>
            <p:cNvPr id="134" name="Raw need is the essence of what customers value in a product or service. When companies identify their customers’ raw need, they unlock innovation by designing products &amp; services to meet these needs">
              <a:extLst>
                <a:ext uri="{FF2B5EF4-FFF2-40B4-BE49-F238E27FC236}">
                  <a16:creationId xmlns:a16="http://schemas.microsoft.com/office/drawing/2014/main" id="{C2C9FE76-7818-BEFE-B8FF-58F19CCFAF22}"/>
                </a:ext>
              </a:extLst>
            </p:cNvPr>
            <p:cNvSpPr txBox="1"/>
            <p:nvPr/>
          </p:nvSpPr>
          <p:spPr>
            <a:xfrm>
              <a:off x="8335510" y="2582808"/>
              <a:ext cx="3521528" cy="117468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5400" tIns="25400" rIns="25400" bIns="25400">
              <a:spAutoFit/>
            </a:bodyPr>
            <a:lstStyle>
              <a:lvl1pPr defTabSz="457200">
                <a:lnSpc>
                  <a:spcPct val="120000"/>
                </a:lnSpc>
                <a:defRPr sz="3200">
                  <a:solidFill>
                    <a:srgbClr val="262626"/>
                  </a:solidFill>
                </a:defRPr>
              </a:lvl1pPr>
            </a:lstStyle>
            <a:p>
              <a:pPr marL="0" indent="0">
                <a:lnSpc>
                  <a:spcPct val="100000"/>
                </a:lnSpc>
                <a:spcBef>
                  <a:spcPts val="600"/>
                </a:spcBef>
                <a:buNone/>
              </a:pPr>
              <a:r>
                <a:rPr lang="it-IT" sz="1400" dirty="0">
                  <a:solidFill>
                    <a:srgbClr val="000000"/>
                  </a:solidFill>
                </a:rPr>
                <a:t>«Mi sono laureato principalmente grazie alla </a:t>
              </a:r>
              <a:r>
                <a:rPr lang="it-IT" sz="1400" b="1" dirty="0">
                  <a:solidFill>
                    <a:srgbClr val="000000"/>
                  </a:solidFill>
                </a:rPr>
                <a:t>flessibilità</a:t>
              </a:r>
              <a:r>
                <a:rPr lang="it-IT" sz="1400" dirty="0">
                  <a:solidFill>
                    <a:srgbClr val="000000"/>
                  </a:solidFill>
                </a:rPr>
                <a:t> che permette anche </a:t>
              </a:r>
              <a:r>
                <a:rPr lang="it-IT" sz="1400" b="1" dirty="0">
                  <a:solidFill>
                    <a:srgbClr val="000000"/>
                  </a:solidFill>
                </a:rPr>
                <a:t>a chi lavora</a:t>
              </a:r>
              <a:r>
                <a:rPr lang="it-IT" sz="1400" dirty="0">
                  <a:solidFill>
                    <a:srgbClr val="000000"/>
                  </a:solidFill>
                </a:rPr>
                <a:t>, come me, </a:t>
              </a:r>
              <a:r>
                <a:rPr lang="it-IT" sz="1400" b="1" dirty="0">
                  <a:solidFill>
                    <a:srgbClr val="000000"/>
                  </a:solidFill>
                </a:rPr>
                <a:t>di raggiungere un traguardo importante</a:t>
              </a:r>
              <a:r>
                <a:rPr lang="it-IT" sz="1400" dirty="0">
                  <a:solidFill>
                    <a:srgbClr val="000000"/>
                  </a:solidFill>
                </a:rPr>
                <a:t>.»</a:t>
              </a:r>
            </a:p>
            <a:p>
              <a:pPr marL="0" indent="0" algn="r">
                <a:lnSpc>
                  <a:spcPct val="100000"/>
                </a:lnSpc>
                <a:spcBef>
                  <a:spcPts val="600"/>
                </a:spcBef>
                <a:buNone/>
              </a:pPr>
              <a:r>
                <a:rPr lang="it-IT" sz="1200" i="1" dirty="0">
                  <a:solidFill>
                    <a:srgbClr val="000000"/>
                  </a:solidFill>
                </a:rPr>
                <a:t>Savino</a:t>
              </a:r>
              <a:endParaRPr lang="it-IT" sz="1400" i="1" dirty="0">
                <a:solidFill>
                  <a:srgbClr val="000000"/>
                </a:solidFill>
              </a:endParaRPr>
            </a:p>
          </p:txBody>
        </p:sp>
        <p:sp>
          <p:nvSpPr>
            <p:cNvPr id="135" name="Raw needs are the fundamental needs that drive human behavior &amp; compel people to action">
              <a:extLst>
                <a:ext uri="{FF2B5EF4-FFF2-40B4-BE49-F238E27FC236}">
                  <a16:creationId xmlns:a16="http://schemas.microsoft.com/office/drawing/2014/main" id="{FCD84EE3-F969-E9C5-9D07-FE00677EC8F6}"/>
                </a:ext>
              </a:extLst>
            </p:cNvPr>
            <p:cNvSpPr txBox="1"/>
            <p:nvPr/>
          </p:nvSpPr>
          <p:spPr>
            <a:xfrm>
              <a:off x="8335510" y="2346588"/>
              <a:ext cx="3521528" cy="26988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5400" tIns="25400" rIns="25400" bIns="25400">
              <a:spAutoFit/>
            </a:bodyPr>
            <a:lstStyle>
              <a:lvl1pPr defTabSz="457200">
                <a:lnSpc>
                  <a:spcPct val="110000"/>
                </a:lnSpc>
                <a:defRPr sz="6000">
                  <a:solidFill>
                    <a:srgbClr val="262626"/>
                  </a:solidFill>
                </a:defRPr>
              </a:lvl1pPr>
            </a:lstStyle>
            <a:p>
              <a:pPr marL="0" indent="0">
                <a:buNone/>
              </a:pPr>
              <a:r>
                <a:rPr lang="it-IT" sz="1400" b="1" dirty="0">
                  <a:solidFill>
                    <a:srgbClr val="620013"/>
                  </a:solidFill>
                </a:rPr>
                <a:t>Flessibilità</a:t>
              </a:r>
            </a:p>
          </p:txBody>
        </p:sp>
      </p:grpSp>
      <p:grpSp>
        <p:nvGrpSpPr>
          <p:cNvPr id="171" name="btfpIcon152945">
            <a:extLst>
              <a:ext uri="{FF2B5EF4-FFF2-40B4-BE49-F238E27FC236}">
                <a16:creationId xmlns:a16="http://schemas.microsoft.com/office/drawing/2014/main" id="{E70F5956-2A9C-852D-86CB-05543F38C257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7495298" y="2340152"/>
            <a:ext cx="650483" cy="650483"/>
            <a:chOff x="7495298" y="2340152"/>
            <a:chExt cx="650483" cy="650483"/>
          </a:xfrm>
        </p:grpSpPr>
        <p:sp>
          <p:nvSpPr>
            <p:cNvPr id="170" name="btfpIconCircle152945">
              <a:extLst>
                <a:ext uri="{FF2B5EF4-FFF2-40B4-BE49-F238E27FC236}">
                  <a16:creationId xmlns:a16="http://schemas.microsoft.com/office/drawing/2014/main" id="{0990B007-2717-86E1-7029-534C6639915D}"/>
                </a:ext>
              </a:extLst>
            </p:cNvPr>
            <p:cNvSpPr>
              <a:spLocks/>
            </p:cNvSpPr>
            <p:nvPr/>
          </p:nvSpPr>
          <p:spPr bwMode="gray">
            <a:xfrm>
              <a:off x="7495298" y="2340152"/>
              <a:ext cx="650483" cy="650483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>
                <a:solidFill>
                  <a:schemeClr val="tx1"/>
                </a:solidFill>
              </a:endParaRPr>
            </a:p>
          </p:txBody>
        </p:sp>
        <p:pic>
          <p:nvPicPr>
            <p:cNvPr id="169" name="btfpIconLines152945">
              <a:extLst>
                <a:ext uri="{FF2B5EF4-FFF2-40B4-BE49-F238E27FC236}">
                  <a16:creationId xmlns:a16="http://schemas.microsoft.com/office/drawing/2014/main" id="{4BA5B0EC-9A35-9DF3-B8D8-E5C4CC302EBF}"/>
                </a:ext>
              </a:extLst>
            </p:cNvPr>
            <p:cNvPicPr>
              <a:picLocks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95298" y="2340152"/>
              <a:ext cx="650483" cy="650483"/>
            </a:xfrm>
            <a:prstGeom prst="rect">
              <a:avLst/>
            </a:prstGeom>
          </p:spPr>
        </p:pic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9FAB5DA0-A8D5-DBF3-B843-AC6B7A3F1D89}"/>
              </a:ext>
            </a:extLst>
          </p:cNvPr>
          <p:cNvGrpSpPr/>
          <p:nvPr/>
        </p:nvGrpSpPr>
        <p:grpSpPr>
          <a:xfrm>
            <a:off x="8335510" y="4963286"/>
            <a:ext cx="3521528" cy="980013"/>
            <a:chOff x="8335510" y="4858511"/>
            <a:chExt cx="3521528" cy="980013"/>
          </a:xfrm>
        </p:grpSpPr>
        <p:sp>
          <p:nvSpPr>
            <p:cNvPr id="141" name="Raw need is the essence of what customers value in a product or service. When companies identify their customers’ raw need, they unlock innovation by designing products &amp; services to meet these needs">
              <a:extLst>
                <a:ext uri="{FF2B5EF4-FFF2-40B4-BE49-F238E27FC236}">
                  <a16:creationId xmlns:a16="http://schemas.microsoft.com/office/drawing/2014/main" id="{40EAD1EB-DE9E-A6FC-29A2-FB322F5CFFEF}"/>
                </a:ext>
              </a:extLst>
            </p:cNvPr>
            <p:cNvSpPr txBox="1"/>
            <p:nvPr/>
          </p:nvSpPr>
          <p:spPr>
            <a:xfrm>
              <a:off x="8335510" y="5094731"/>
              <a:ext cx="3521528" cy="74379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5400" tIns="25400" rIns="25400" bIns="25400">
              <a:spAutoFit/>
            </a:bodyPr>
            <a:lstStyle>
              <a:lvl1pPr defTabSz="457200">
                <a:lnSpc>
                  <a:spcPct val="120000"/>
                </a:lnSpc>
                <a:defRPr sz="3200">
                  <a:solidFill>
                    <a:srgbClr val="262626"/>
                  </a:solidFill>
                </a:defRPr>
              </a:lvl1pPr>
            </a:lstStyle>
            <a:p>
              <a:pPr marL="0" indent="0">
                <a:lnSpc>
                  <a:spcPct val="100000"/>
                </a:lnSpc>
                <a:spcBef>
                  <a:spcPts val="600"/>
                </a:spcBef>
                <a:buNone/>
              </a:pPr>
              <a:r>
                <a:rPr lang="it-IT" sz="1400">
                  <a:solidFill>
                    <a:srgbClr val="000000"/>
                  </a:solidFill>
                </a:rPr>
                <a:t>«Tra le università online </a:t>
              </a:r>
              <a:r>
                <a:rPr lang="it-IT" sz="1400" b="1">
                  <a:solidFill>
                    <a:srgbClr val="000000"/>
                  </a:solidFill>
                </a:rPr>
                <a:t>meno costose </a:t>
              </a:r>
              <a:r>
                <a:rPr lang="it-IT" sz="1400">
                  <a:solidFill>
                    <a:srgbClr val="000000"/>
                  </a:solidFill>
                </a:rPr>
                <a:t>con </a:t>
              </a:r>
              <a:r>
                <a:rPr lang="it-IT" sz="1400" b="1">
                  <a:solidFill>
                    <a:srgbClr val="000000"/>
                  </a:solidFill>
                </a:rPr>
                <a:t>programmi</a:t>
              </a:r>
              <a:r>
                <a:rPr lang="it-IT" sz="1400">
                  <a:solidFill>
                    <a:srgbClr val="000000"/>
                  </a:solidFill>
                </a:rPr>
                <a:t> educativi </a:t>
              </a:r>
              <a:r>
                <a:rPr lang="it-IT" sz="1400" b="1">
                  <a:solidFill>
                    <a:srgbClr val="000000"/>
                  </a:solidFill>
                </a:rPr>
                <a:t>moderni</a:t>
              </a:r>
              <a:r>
                <a:rPr lang="it-IT" sz="1400">
                  <a:solidFill>
                    <a:srgbClr val="000000"/>
                  </a:solidFill>
                </a:rPr>
                <a:t> e </a:t>
              </a:r>
              <a:r>
                <a:rPr lang="it-IT" sz="1400" b="1">
                  <a:solidFill>
                    <a:srgbClr val="000000"/>
                  </a:solidFill>
                </a:rPr>
                <a:t>completi</a:t>
              </a:r>
              <a:r>
                <a:rPr lang="it-IT" sz="1400">
                  <a:solidFill>
                    <a:srgbClr val="000000"/>
                  </a:solidFill>
                </a:rPr>
                <a:t>»</a:t>
              </a:r>
            </a:p>
            <a:p>
              <a:pPr marL="0" indent="0" algn="r">
                <a:lnSpc>
                  <a:spcPct val="100000"/>
                </a:lnSpc>
                <a:spcBef>
                  <a:spcPts val="600"/>
                </a:spcBef>
                <a:buNone/>
              </a:pPr>
              <a:r>
                <a:rPr lang="it-IT" sz="1200" i="1">
                  <a:solidFill>
                    <a:srgbClr val="000000"/>
                  </a:solidFill>
                </a:rPr>
                <a:t>Franco</a:t>
              </a:r>
            </a:p>
          </p:txBody>
        </p:sp>
        <p:sp>
          <p:nvSpPr>
            <p:cNvPr id="142" name="Raw needs are the fundamental needs that drive human behavior &amp; compel people to action">
              <a:extLst>
                <a:ext uri="{FF2B5EF4-FFF2-40B4-BE49-F238E27FC236}">
                  <a16:creationId xmlns:a16="http://schemas.microsoft.com/office/drawing/2014/main" id="{081626F9-4140-9794-45B3-05F7D522390F}"/>
                </a:ext>
              </a:extLst>
            </p:cNvPr>
            <p:cNvSpPr txBox="1"/>
            <p:nvPr/>
          </p:nvSpPr>
          <p:spPr>
            <a:xfrm>
              <a:off x="8335510" y="4858511"/>
              <a:ext cx="3521528" cy="26988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5400" tIns="25400" rIns="25400" bIns="25400">
              <a:spAutoFit/>
            </a:bodyPr>
            <a:lstStyle>
              <a:lvl1pPr defTabSz="457200">
                <a:lnSpc>
                  <a:spcPct val="110000"/>
                </a:lnSpc>
                <a:defRPr sz="6000">
                  <a:solidFill>
                    <a:srgbClr val="262626"/>
                  </a:solidFill>
                </a:defRPr>
              </a:lvl1pPr>
            </a:lstStyle>
            <a:p>
              <a:pPr marL="0" indent="0">
                <a:buNone/>
              </a:pPr>
              <a:r>
                <a:rPr lang="it-IT" sz="1400" b="1">
                  <a:solidFill>
                    <a:srgbClr val="620013"/>
                  </a:solidFill>
                </a:rPr>
                <a:t>Convenienza economica</a:t>
              </a:r>
            </a:p>
          </p:txBody>
        </p:sp>
      </p:grpSp>
      <p:grpSp>
        <p:nvGrpSpPr>
          <p:cNvPr id="176" name="btfpIcon651536">
            <a:extLst>
              <a:ext uri="{FF2B5EF4-FFF2-40B4-BE49-F238E27FC236}">
                <a16:creationId xmlns:a16="http://schemas.microsoft.com/office/drawing/2014/main" id="{56684789-5A81-A7C5-8393-76A51FB23886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7495298" y="4963286"/>
            <a:ext cx="650483" cy="650483"/>
            <a:chOff x="7495298" y="4963286"/>
            <a:chExt cx="650483" cy="650483"/>
          </a:xfrm>
        </p:grpSpPr>
        <p:sp>
          <p:nvSpPr>
            <p:cNvPr id="175" name="btfpIconCircle651536">
              <a:extLst>
                <a:ext uri="{FF2B5EF4-FFF2-40B4-BE49-F238E27FC236}">
                  <a16:creationId xmlns:a16="http://schemas.microsoft.com/office/drawing/2014/main" id="{178A2732-CA98-C82B-3EA4-69633062CB34}"/>
                </a:ext>
              </a:extLst>
            </p:cNvPr>
            <p:cNvSpPr>
              <a:spLocks/>
            </p:cNvSpPr>
            <p:nvPr/>
          </p:nvSpPr>
          <p:spPr bwMode="gray">
            <a:xfrm>
              <a:off x="7495298" y="4963286"/>
              <a:ext cx="650483" cy="650483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>
                <a:solidFill>
                  <a:schemeClr val="tx1"/>
                </a:solidFill>
              </a:endParaRPr>
            </a:p>
          </p:txBody>
        </p:sp>
        <p:pic>
          <p:nvPicPr>
            <p:cNvPr id="174" name="btfpIconLines651536">
              <a:extLst>
                <a:ext uri="{FF2B5EF4-FFF2-40B4-BE49-F238E27FC236}">
                  <a16:creationId xmlns:a16="http://schemas.microsoft.com/office/drawing/2014/main" id="{9FA60A83-A7A5-636A-2A69-9E92C2F6CC2C}"/>
                </a:ext>
              </a:extLst>
            </p:cNvPr>
            <p:cNvPicPr>
              <a:picLocks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95298" y="4963286"/>
              <a:ext cx="650483" cy="650483"/>
            </a:xfrm>
            <a:prstGeom prst="rect">
              <a:avLst/>
            </a:prstGeom>
          </p:spPr>
        </p:pic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36A6982E-C4F3-5295-3F06-B535F62F1087}"/>
              </a:ext>
            </a:extLst>
          </p:cNvPr>
          <p:cNvGrpSpPr/>
          <p:nvPr/>
        </p:nvGrpSpPr>
        <p:grpSpPr>
          <a:xfrm>
            <a:off x="8335510" y="3774830"/>
            <a:ext cx="3521528" cy="980013"/>
            <a:chOff x="8335510" y="3694882"/>
            <a:chExt cx="3521528" cy="980013"/>
          </a:xfrm>
        </p:grpSpPr>
        <p:sp>
          <p:nvSpPr>
            <p:cNvPr id="148" name="Raw need is the essence of what customers value in a product or service. When companies identify their customers’ raw need, they unlock innovation by designing products &amp; services to meet these needs">
              <a:extLst>
                <a:ext uri="{FF2B5EF4-FFF2-40B4-BE49-F238E27FC236}">
                  <a16:creationId xmlns:a16="http://schemas.microsoft.com/office/drawing/2014/main" id="{8D36BB22-3DE9-BB0E-0CEF-69D26B420832}"/>
                </a:ext>
              </a:extLst>
            </p:cNvPr>
            <p:cNvSpPr txBox="1"/>
            <p:nvPr/>
          </p:nvSpPr>
          <p:spPr>
            <a:xfrm>
              <a:off x="8335510" y="3931102"/>
              <a:ext cx="3399290" cy="74379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5400" tIns="25400" rIns="25400" bIns="25400">
              <a:spAutoFit/>
            </a:bodyPr>
            <a:lstStyle>
              <a:lvl1pPr defTabSz="457200">
                <a:lnSpc>
                  <a:spcPct val="120000"/>
                </a:lnSpc>
                <a:defRPr sz="3200">
                  <a:solidFill>
                    <a:srgbClr val="262626"/>
                  </a:solidFill>
                </a:defRPr>
              </a:lvl1pPr>
            </a:lstStyle>
            <a:p>
              <a:pPr marL="0" indent="0">
                <a:lnSpc>
                  <a:spcPct val="100000"/>
                </a:lnSpc>
                <a:spcBef>
                  <a:spcPts val="600"/>
                </a:spcBef>
                <a:buNone/>
              </a:pPr>
              <a:r>
                <a:rPr lang="it-IT" sz="1400">
                  <a:solidFill>
                    <a:srgbClr val="000000"/>
                  </a:solidFill>
                </a:rPr>
                <a:t>«Il </a:t>
              </a:r>
              <a:r>
                <a:rPr lang="it-IT" sz="1400" b="1">
                  <a:solidFill>
                    <a:srgbClr val="000000"/>
                  </a:solidFill>
                </a:rPr>
                <a:t>materiale</a:t>
              </a:r>
              <a:r>
                <a:rPr lang="it-IT" sz="1400">
                  <a:solidFill>
                    <a:srgbClr val="000000"/>
                  </a:solidFill>
                </a:rPr>
                <a:t> fornito per lo studio è stato </a:t>
              </a:r>
              <a:r>
                <a:rPr lang="it-IT" sz="1400" b="1">
                  <a:solidFill>
                    <a:srgbClr val="000000"/>
                  </a:solidFill>
                </a:rPr>
                <a:t>molto utile</a:t>
              </a:r>
              <a:r>
                <a:rPr lang="it-IT" sz="1400">
                  <a:solidFill>
                    <a:srgbClr val="000000"/>
                  </a:solidFill>
                </a:rPr>
                <a:t> per garantire </a:t>
              </a:r>
              <a:r>
                <a:rPr lang="it-IT" sz="1400" b="1">
                  <a:solidFill>
                    <a:srgbClr val="000000"/>
                  </a:solidFill>
                </a:rPr>
                <a:t>ottimi risultati</a:t>
              </a:r>
              <a:r>
                <a:rPr lang="it-IT" sz="1400">
                  <a:solidFill>
                    <a:srgbClr val="000000"/>
                  </a:solidFill>
                </a:rPr>
                <a:t>»</a:t>
              </a:r>
            </a:p>
            <a:p>
              <a:pPr marL="0" indent="0" algn="r">
                <a:lnSpc>
                  <a:spcPct val="100000"/>
                </a:lnSpc>
                <a:spcBef>
                  <a:spcPts val="600"/>
                </a:spcBef>
                <a:buNone/>
              </a:pPr>
              <a:r>
                <a:rPr lang="it-IT" sz="1200" i="1">
                  <a:solidFill>
                    <a:srgbClr val="000000"/>
                  </a:solidFill>
                </a:rPr>
                <a:t>Mauro</a:t>
              </a:r>
            </a:p>
          </p:txBody>
        </p:sp>
        <p:sp>
          <p:nvSpPr>
            <p:cNvPr id="149" name="Raw needs are the fundamental needs that drive human behavior &amp; compel people to action">
              <a:extLst>
                <a:ext uri="{FF2B5EF4-FFF2-40B4-BE49-F238E27FC236}">
                  <a16:creationId xmlns:a16="http://schemas.microsoft.com/office/drawing/2014/main" id="{1FA4D537-DEEC-32E4-23EF-873D1D3566EA}"/>
                </a:ext>
              </a:extLst>
            </p:cNvPr>
            <p:cNvSpPr txBox="1"/>
            <p:nvPr/>
          </p:nvSpPr>
          <p:spPr>
            <a:xfrm>
              <a:off x="8335510" y="3694882"/>
              <a:ext cx="3521528" cy="26988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5400" tIns="25400" rIns="25400" bIns="25400">
              <a:spAutoFit/>
            </a:bodyPr>
            <a:lstStyle>
              <a:lvl1pPr defTabSz="457200">
                <a:lnSpc>
                  <a:spcPct val="110000"/>
                </a:lnSpc>
                <a:defRPr sz="6000">
                  <a:solidFill>
                    <a:srgbClr val="262626"/>
                  </a:solidFill>
                </a:defRPr>
              </a:lvl1pPr>
            </a:lstStyle>
            <a:p>
              <a:pPr marL="0" indent="0">
                <a:buNone/>
              </a:pPr>
              <a:r>
                <a:rPr lang="it-IT" sz="1400" b="1">
                  <a:solidFill>
                    <a:srgbClr val="620013"/>
                  </a:solidFill>
                </a:rPr>
                <a:t>Qualità del materiale</a:t>
              </a:r>
            </a:p>
          </p:txBody>
        </p:sp>
      </p:grpSp>
      <p:grpSp>
        <p:nvGrpSpPr>
          <p:cNvPr id="181" name="btfpIcon425793">
            <a:extLst>
              <a:ext uri="{FF2B5EF4-FFF2-40B4-BE49-F238E27FC236}">
                <a16:creationId xmlns:a16="http://schemas.microsoft.com/office/drawing/2014/main" id="{9DA41E20-FFDA-BD2D-B1C8-625EAADBF914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7495298" y="3774831"/>
            <a:ext cx="650483" cy="650483"/>
            <a:chOff x="7495298" y="3774831"/>
            <a:chExt cx="650483" cy="650483"/>
          </a:xfrm>
        </p:grpSpPr>
        <p:sp>
          <p:nvSpPr>
            <p:cNvPr id="180" name="btfpIconCircle425793">
              <a:extLst>
                <a:ext uri="{FF2B5EF4-FFF2-40B4-BE49-F238E27FC236}">
                  <a16:creationId xmlns:a16="http://schemas.microsoft.com/office/drawing/2014/main" id="{CC0912CE-E2D8-1145-3B66-37D3017152C2}"/>
                </a:ext>
              </a:extLst>
            </p:cNvPr>
            <p:cNvSpPr>
              <a:spLocks/>
            </p:cNvSpPr>
            <p:nvPr/>
          </p:nvSpPr>
          <p:spPr bwMode="gray">
            <a:xfrm>
              <a:off x="7495298" y="3774831"/>
              <a:ext cx="650483" cy="650483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>
                <a:solidFill>
                  <a:schemeClr val="tx1"/>
                </a:solidFill>
              </a:endParaRPr>
            </a:p>
          </p:txBody>
        </p:sp>
        <p:pic>
          <p:nvPicPr>
            <p:cNvPr id="179" name="btfpIconLines425793">
              <a:extLst>
                <a:ext uri="{FF2B5EF4-FFF2-40B4-BE49-F238E27FC236}">
                  <a16:creationId xmlns:a16="http://schemas.microsoft.com/office/drawing/2014/main" id="{D1F546AA-7A47-2689-39F0-D08B65C0AFCC}"/>
                </a:ext>
              </a:extLst>
            </p:cNvPr>
            <p:cNvPicPr>
              <a:picLocks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95298" y="3774831"/>
              <a:ext cx="650483" cy="650483"/>
            </a:xfrm>
            <a:prstGeom prst="rect">
              <a:avLst/>
            </a:prstGeom>
          </p:spPr>
        </p:pic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212DDA1-CBF2-6F65-864A-DB88849636F7}"/>
              </a:ext>
            </a:extLst>
          </p:cNvPr>
          <p:cNvGrpSpPr/>
          <p:nvPr/>
        </p:nvGrpSpPr>
        <p:grpSpPr>
          <a:xfrm>
            <a:off x="1381143" y="2065494"/>
            <a:ext cx="883891" cy="221018"/>
            <a:chOff x="1465275" y="2065494"/>
            <a:chExt cx="883891" cy="221018"/>
          </a:xfrm>
        </p:grpSpPr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562BF19C-5459-BCB0-12F9-68CBDC03A0A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465275" y="2175808"/>
              <a:ext cx="842950" cy="0"/>
            </a:xfrm>
            <a:prstGeom prst="line">
              <a:avLst/>
            </a:prstGeom>
            <a:ln w="9525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13452B8-EC9B-611C-5432-B4E162E7B764}"/>
                </a:ext>
              </a:extLst>
            </p:cNvPr>
            <p:cNvSpPr/>
            <p:nvPr/>
          </p:nvSpPr>
          <p:spPr bwMode="gray">
            <a:xfrm>
              <a:off x="1465275" y="2065494"/>
              <a:ext cx="883891" cy="221018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8000" tIns="18000" rIns="18000" bIns="1800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indent="0">
                <a:buNone/>
              </a:pPr>
              <a:r>
                <a:rPr lang="it-IT" sz="1200" b="1" dirty="0">
                  <a:solidFill>
                    <a:srgbClr val="000000"/>
                  </a:solidFill>
                </a:rPr>
                <a:t>Valutazione</a:t>
              </a: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773142029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5BD2BF79-CD0B-4C68-A772-C7A01B9BA2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3278745"/>
              </p:ext>
            </p:extLst>
          </p:nvPr>
        </p:nvGraphicFramePr>
        <p:xfrm>
          <a:off x="2294" y="22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Diapositiva think-cell" r:id="rId5" imgW="395" imgH="396" progId="TCLayout.ActiveDocument.1">
                  <p:embed/>
                </p:oleObj>
              </mc:Choice>
              <mc:Fallback>
                <p:oleObj name="Diapositiva think-cell" r:id="rId5" imgW="395" imgH="396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5BD2BF79-CD0B-4C68-A772-C7A01B9BA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94" y="22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btfpRunningAgenda2LevelBarLeft587740">
            <a:extLst>
              <a:ext uri="{FF2B5EF4-FFF2-40B4-BE49-F238E27FC236}">
                <a16:creationId xmlns:a16="http://schemas.microsoft.com/office/drawing/2014/main" id="{56E2DEFC-A9CB-47FC-8286-65EAC54B2A32}"/>
              </a:ext>
            </a:extLst>
          </p:cNvPr>
          <p:cNvSpPr/>
          <p:nvPr/>
        </p:nvSpPr>
        <p:spPr bwMode="gray">
          <a:xfrm>
            <a:off x="-2" y="944429"/>
            <a:ext cx="7345922" cy="257442"/>
          </a:xfrm>
          <a:custGeom>
            <a:avLst/>
            <a:gdLst>
              <a:gd name="connsiteX0" fmla="*/ 950801 w 3573314"/>
              <a:gd name="connsiteY0" fmla="*/ 0 h 257442"/>
              <a:gd name="connsiteX1" fmla="*/ 3573314 w 3573314"/>
              <a:gd name="connsiteY1" fmla="*/ 0 h 257442"/>
              <a:gd name="connsiteX2" fmla="*/ 3518593 w 3573314"/>
              <a:gd name="connsiteY2" fmla="*/ 257442 h 257442"/>
              <a:gd name="connsiteX3" fmla="*/ 0 w 3573314"/>
              <a:gd name="connsiteY3" fmla="*/ 257442 h 257442"/>
              <a:gd name="connsiteX0" fmla="*/ 950801 w 3518593"/>
              <a:gd name="connsiteY0" fmla="*/ 0 h 257442"/>
              <a:gd name="connsiteX1" fmla="*/ 896080 w 3518593"/>
              <a:gd name="connsiteY1" fmla="*/ 257442 h 257442"/>
              <a:gd name="connsiteX2" fmla="*/ 3518593 w 3518593"/>
              <a:gd name="connsiteY2" fmla="*/ 257442 h 257442"/>
              <a:gd name="connsiteX3" fmla="*/ 0 w 3518593"/>
              <a:gd name="connsiteY3" fmla="*/ 257442 h 257442"/>
              <a:gd name="connsiteX0" fmla="*/ 950801 w 950801"/>
              <a:gd name="connsiteY0" fmla="*/ 0 h 257442"/>
              <a:gd name="connsiteX1" fmla="*/ 896080 w 950801"/>
              <a:gd name="connsiteY1" fmla="*/ 257442 h 257442"/>
              <a:gd name="connsiteX2" fmla="*/ 1 w 950801"/>
              <a:gd name="connsiteY2" fmla="*/ 257442 h 257442"/>
              <a:gd name="connsiteX3" fmla="*/ 0 w 950801"/>
              <a:gd name="connsiteY3" fmla="*/ 257442 h 257442"/>
              <a:gd name="connsiteX0" fmla="*/ 950800 w 950800"/>
              <a:gd name="connsiteY0" fmla="*/ 0 h 257442"/>
              <a:gd name="connsiteX1" fmla="*/ 896079 w 950800"/>
              <a:gd name="connsiteY1" fmla="*/ 257442 h 257442"/>
              <a:gd name="connsiteX2" fmla="*/ 0 w 950800"/>
              <a:gd name="connsiteY2" fmla="*/ 257442 h 257442"/>
              <a:gd name="connsiteX3" fmla="*/ 0 w 950800"/>
              <a:gd name="connsiteY3" fmla="*/ 0 h 257442"/>
              <a:gd name="connsiteX0" fmla="*/ 1119115 w 1119115"/>
              <a:gd name="connsiteY0" fmla="*/ 0 h 257442"/>
              <a:gd name="connsiteX1" fmla="*/ 896079 w 1119115"/>
              <a:gd name="connsiteY1" fmla="*/ 257442 h 257442"/>
              <a:gd name="connsiteX2" fmla="*/ 0 w 1119115"/>
              <a:gd name="connsiteY2" fmla="*/ 257442 h 257442"/>
              <a:gd name="connsiteX3" fmla="*/ 0 w 1119115"/>
              <a:gd name="connsiteY3" fmla="*/ 0 h 257442"/>
              <a:gd name="connsiteX0" fmla="*/ 1119115 w 1119115"/>
              <a:gd name="connsiteY0" fmla="*/ 0 h 257442"/>
              <a:gd name="connsiteX1" fmla="*/ 1064394 w 1119115"/>
              <a:gd name="connsiteY1" fmla="*/ 257442 h 257442"/>
              <a:gd name="connsiteX2" fmla="*/ 0 w 1119115"/>
              <a:gd name="connsiteY2" fmla="*/ 257442 h 257442"/>
              <a:gd name="connsiteX3" fmla="*/ 0 w 1119115"/>
              <a:gd name="connsiteY3" fmla="*/ 0 h 257442"/>
              <a:gd name="connsiteX0" fmla="*/ 1119116 w 1119116"/>
              <a:gd name="connsiteY0" fmla="*/ 0 h 257442"/>
              <a:gd name="connsiteX1" fmla="*/ 1064395 w 1119116"/>
              <a:gd name="connsiteY1" fmla="*/ 257442 h 257442"/>
              <a:gd name="connsiteX2" fmla="*/ 0 w 1119116"/>
              <a:gd name="connsiteY2" fmla="*/ 257442 h 257442"/>
              <a:gd name="connsiteX3" fmla="*/ 1 w 1119116"/>
              <a:gd name="connsiteY3" fmla="*/ 0 h 257442"/>
              <a:gd name="connsiteX0" fmla="*/ 1119116 w 1119116"/>
              <a:gd name="connsiteY0" fmla="*/ 0 h 257442"/>
              <a:gd name="connsiteX1" fmla="*/ 1064395 w 1119116"/>
              <a:gd name="connsiteY1" fmla="*/ 257442 h 257442"/>
              <a:gd name="connsiteX2" fmla="*/ 0 w 1119116"/>
              <a:gd name="connsiteY2" fmla="*/ 257442 h 257442"/>
              <a:gd name="connsiteX3" fmla="*/ 0 w 1119116"/>
              <a:gd name="connsiteY3" fmla="*/ 0 h 257442"/>
              <a:gd name="connsiteX0" fmla="*/ 1220106 w 1220106"/>
              <a:gd name="connsiteY0" fmla="*/ 0 h 257442"/>
              <a:gd name="connsiteX1" fmla="*/ 1064395 w 1220106"/>
              <a:gd name="connsiteY1" fmla="*/ 257442 h 257442"/>
              <a:gd name="connsiteX2" fmla="*/ 0 w 1220106"/>
              <a:gd name="connsiteY2" fmla="*/ 257442 h 257442"/>
              <a:gd name="connsiteX3" fmla="*/ 0 w 1220106"/>
              <a:gd name="connsiteY3" fmla="*/ 0 h 257442"/>
              <a:gd name="connsiteX0" fmla="*/ 1220106 w 1220106"/>
              <a:gd name="connsiteY0" fmla="*/ 0 h 257442"/>
              <a:gd name="connsiteX1" fmla="*/ 1165385 w 1220106"/>
              <a:gd name="connsiteY1" fmla="*/ 257442 h 257442"/>
              <a:gd name="connsiteX2" fmla="*/ 0 w 1220106"/>
              <a:gd name="connsiteY2" fmla="*/ 257442 h 257442"/>
              <a:gd name="connsiteX3" fmla="*/ 0 w 1220106"/>
              <a:gd name="connsiteY3" fmla="*/ 0 h 257442"/>
              <a:gd name="connsiteX0" fmla="*/ 1220106 w 1220106"/>
              <a:gd name="connsiteY0" fmla="*/ 0 h 257442"/>
              <a:gd name="connsiteX1" fmla="*/ 1165385 w 1220106"/>
              <a:gd name="connsiteY1" fmla="*/ 257442 h 257442"/>
              <a:gd name="connsiteX2" fmla="*/ 0 w 1220106"/>
              <a:gd name="connsiteY2" fmla="*/ 257442 h 257442"/>
              <a:gd name="connsiteX3" fmla="*/ 0 w 1220106"/>
              <a:gd name="connsiteY3" fmla="*/ 0 h 257442"/>
              <a:gd name="connsiteX0" fmla="*/ 1220106 w 1220106"/>
              <a:gd name="connsiteY0" fmla="*/ 0 h 257442"/>
              <a:gd name="connsiteX1" fmla="*/ 1165385 w 1220106"/>
              <a:gd name="connsiteY1" fmla="*/ 257442 h 257442"/>
              <a:gd name="connsiteX2" fmla="*/ 0 w 1220106"/>
              <a:gd name="connsiteY2" fmla="*/ 257442 h 257442"/>
              <a:gd name="connsiteX3" fmla="*/ 0 w 1220106"/>
              <a:gd name="connsiteY3" fmla="*/ 0 h 257442"/>
              <a:gd name="connsiteX0" fmla="*/ 1380406 w 1380406"/>
              <a:gd name="connsiteY0" fmla="*/ 0 h 257442"/>
              <a:gd name="connsiteX1" fmla="*/ 1165385 w 1380406"/>
              <a:gd name="connsiteY1" fmla="*/ 257442 h 257442"/>
              <a:gd name="connsiteX2" fmla="*/ 0 w 1380406"/>
              <a:gd name="connsiteY2" fmla="*/ 257442 h 257442"/>
              <a:gd name="connsiteX3" fmla="*/ 0 w 1380406"/>
              <a:gd name="connsiteY3" fmla="*/ 0 h 257442"/>
              <a:gd name="connsiteX0" fmla="*/ 1380406 w 1380406"/>
              <a:gd name="connsiteY0" fmla="*/ 0 h 257442"/>
              <a:gd name="connsiteX1" fmla="*/ 1325685 w 1380406"/>
              <a:gd name="connsiteY1" fmla="*/ 257442 h 257442"/>
              <a:gd name="connsiteX2" fmla="*/ 0 w 1380406"/>
              <a:gd name="connsiteY2" fmla="*/ 257442 h 257442"/>
              <a:gd name="connsiteX3" fmla="*/ 0 w 1380406"/>
              <a:gd name="connsiteY3" fmla="*/ 0 h 257442"/>
              <a:gd name="connsiteX0" fmla="*/ 1380406 w 1380406"/>
              <a:gd name="connsiteY0" fmla="*/ 0 h 257442"/>
              <a:gd name="connsiteX1" fmla="*/ 1325685 w 1380406"/>
              <a:gd name="connsiteY1" fmla="*/ 257442 h 257442"/>
              <a:gd name="connsiteX2" fmla="*/ 0 w 1380406"/>
              <a:gd name="connsiteY2" fmla="*/ 257442 h 257442"/>
              <a:gd name="connsiteX3" fmla="*/ 0 w 1380406"/>
              <a:gd name="connsiteY3" fmla="*/ 0 h 257442"/>
              <a:gd name="connsiteX0" fmla="*/ 1380406 w 1380406"/>
              <a:gd name="connsiteY0" fmla="*/ 0 h 257442"/>
              <a:gd name="connsiteX1" fmla="*/ 1325685 w 1380406"/>
              <a:gd name="connsiteY1" fmla="*/ 257442 h 257442"/>
              <a:gd name="connsiteX2" fmla="*/ 0 w 1380406"/>
              <a:gd name="connsiteY2" fmla="*/ 257442 h 257442"/>
              <a:gd name="connsiteX3" fmla="*/ 0 w 1380406"/>
              <a:gd name="connsiteY3" fmla="*/ 0 h 257442"/>
              <a:gd name="connsiteX0" fmla="*/ 1540706 w 1540706"/>
              <a:gd name="connsiteY0" fmla="*/ 0 h 257442"/>
              <a:gd name="connsiteX1" fmla="*/ 1325685 w 1540706"/>
              <a:gd name="connsiteY1" fmla="*/ 257442 h 257442"/>
              <a:gd name="connsiteX2" fmla="*/ 0 w 1540706"/>
              <a:gd name="connsiteY2" fmla="*/ 257442 h 257442"/>
              <a:gd name="connsiteX3" fmla="*/ 0 w 1540706"/>
              <a:gd name="connsiteY3" fmla="*/ 0 h 257442"/>
              <a:gd name="connsiteX0" fmla="*/ 1540706 w 1540706"/>
              <a:gd name="connsiteY0" fmla="*/ 0 h 257442"/>
              <a:gd name="connsiteX1" fmla="*/ 1485985 w 1540706"/>
              <a:gd name="connsiteY1" fmla="*/ 257442 h 257442"/>
              <a:gd name="connsiteX2" fmla="*/ 0 w 1540706"/>
              <a:gd name="connsiteY2" fmla="*/ 257442 h 257442"/>
              <a:gd name="connsiteX3" fmla="*/ 0 w 1540706"/>
              <a:gd name="connsiteY3" fmla="*/ 0 h 257442"/>
              <a:gd name="connsiteX0" fmla="*/ 1540706 w 1540706"/>
              <a:gd name="connsiteY0" fmla="*/ 0 h 257442"/>
              <a:gd name="connsiteX1" fmla="*/ 1485985 w 1540706"/>
              <a:gd name="connsiteY1" fmla="*/ 257442 h 257442"/>
              <a:gd name="connsiteX2" fmla="*/ 0 w 1540706"/>
              <a:gd name="connsiteY2" fmla="*/ 257442 h 257442"/>
              <a:gd name="connsiteX3" fmla="*/ 0 w 1540706"/>
              <a:gd name="connsiteY3" fmla="*/ 0 h 257442"/>
              <a:gd name="connsiteX0" fmla="*/ 1540706 w 1540706"/>
              <a:gd name="connsiteY0" fmla="*/ 0 h 257442"/>
              <a:gd name="connsiteX1" fmla="*/ 1485985 w 1540706"/>
              <a:gd name="connsiteY1" fmla="*/ 257442 h 257442"/>
              <a:gd name="connsiteX2" fmla="*/ 0 w 1540706"/>
              <a:gd name="connsiteY2" fmla="*/ 257442 h 257442"/>
              <a:gd name="connsiteX3" fmla="*/ 0 w 1540706"/>
              <a:gd name="connsiteY3" fmla="*/ 0 h 257442"/>
              <a:gd name="connsiteX0" fmla="*/ 1709021 w 1709021"/>
              <a:gd name="connsiteY0" fmla="*/ 0 h 257442"/>
              <a:gd name="connsiteX1" fmla="*/ 1485985 w 1709021"/>
              <a:gd name="connsiteY1" fmla="*/ 257442 h 257442"/>
              <a:gd name="connsiteX2" fmla="*/ 0 w 1709021"/>
              <a:gd name="connsiteY2" fmla="*/ 257442 h 257442"/>
              <a:gd name="connsiteX3" fmla="*/ 0 w 1709021"/>
              <a:gd name="connsiteY3" fmla="*/ 0 h 257442"/>
              <a:gd name="connsiteX0" fmla="*/ 1709021 w 1709021"/>
              <a:gd name="connsiteY0" fmla="*/ 0 h 257442"/>
              <a:gd name="connsiteX1" fmla="*/ 1654300 w 1709021"/>
              <a:gd name="connsiteY1" fmla="*/ 257442 h 257442"/>
              <a:gd name="connsiteX2" fmla="*/ 0 w 1709021"/>
              <a:gd name="connsiteY2" fmla="*/ 257442 h 257442"/>
              <a:gd name="connsiteX3" fmla="*/ 0 w 1709021"/>
              <a:gd name="connsiteY3" fmla="*/ 0 h 257442"/>
              <a:gd name="connsiteX0" fmla="*/ 1709021 w 1709021"/>
              <a:gd name="connsiteY0" fmla="*/ 0 h 257442"/>
              <a:gd name="connsiteX1" fmla="*/ 1654300 w 1709021"/>
              <a:gd name="connsiteY1" fmla="*/ 257442 h 257442"/>
              <a:gd name="connsiteX2" fmla="*/ 0 w 1709021"/>
              <a:gd name="connsiteY2" fmla="*/ 257442 h 257442"/>
              <a:gd name="connsiteX3" fmla="*/ 0 w 1709021"/>
              <a:gd name="connsiteY3" fmla="*/ 0 h 257442"/>
              <a:gd name="connsiteX0" fmla="*/ 1709021 w 1709021"/>
              <a:gd name="connsiteY0" fmla="*/ 0 h 257442"/>
              <a:gd name="connsiteX1" fmla="*/ 1654300 w 1709021"/>
              <a:gd name="connsiteY1" fmla="*/ 257442 h 257442"/>
              <a:gd name="connsiteX2" fmla="*/ 0 w 1709021"/>
              <a:gd name="connsiteY2" fmla="*/ 257442 h 257442"/>
              <a:gd name="connsiteX3" fmla="*/ 0 w 1709021"/>
              <a:gd name="connsiteY3" fmla="*/ 0 h 257442"/>
              <a:gd name="connsiteX0" fmla="*/ 1869321 w 1869321"/>
              <a:gd name="connsiteY0" fmla="*/ 0 h 257442"/>
              <a:gd name="connsiteX1" fmla="*/ 1654300 w 1869321"/>
              <a:gd name="connsiteY1" fmla="*/ 257442 h 257442"/>
              <a:gd name="connsiteX2" fmla="*/ 0 w 1869321"/>
              <a:gd name="connsiteY2" fmla="*/ 257442 h 257442"/>
              <a:gd name="connsiteX3" fmla="*/ 0 w 1869321"/>
              <a:gd name="connsiteY3" fmla="*/ 0 h 257442"/>
              <a:gd name="connsiteX0" fmla="*/ 1869321 w 1869321"/>
              <a:gd name="connsiteY0" fmla="*/ 0 h 257442"/>
              <a:gd name="connsiteX1" fmla="*/ 1814600 w 1869321"/>
              <a:gd name="connsiteY1" fmla="*/ 257442 h 257442"/>
              <a:gd name="connsiteX2" fmla="*/ 0 w 1869321"/>
              <a:gd name="connsiteY2" fmla="*/ 257442 h 257442"/>
              <a:gd name="connsiteX3" fmla="*/ 0 w 1869321"/>
              <a:gd name="connsiteY3" fmla="*/ 0 h 257442"/>
              <a:gd name="connsiteX0" fmla="*/ 1869321 w 1869321"/>
              <a:gd name="connsiteY0" fmla="*/ 0 h 257442"/>
              <a:gd name="connsiteX1" fmla="*/ 1814600 w 1869321"/>
              <a:gd name="connsiteY1" fmla="*/ 257442 h 257442"/>
              <a:gd name="connsiteX2" fmla="*/ 0 w 1869321"/>
              <a:gd name="connsiteY2" fmla="*/ 257442 h 257442"/>
              <a:gd name="connsiteX3" fmla="*/ 0 w 1869321"/>
              <a:gd name="connsiteY3" fmla="*/ 0 h 257442"/>
              <a:gd name="connsiteX0" fmla="*/ 1869321 w 1869321"/>
              <a:gd name="connsiteY0" fmla="*/ 0 h 257442"/>
              <a:gd name="connsiteX1" fmla="*/ 1814600 w 1869321"/>
              <a:gd name="connsiteY1" fmla="*/ 257442 h 257442"/>
              <a:gd name="connsiteX2" fmla="*/ 0 w 1869321"/>
              <a:gd name="connsiteY2" fmla="*/ 257442 h 257442"/>
              <a:gd name="connsiteX3" fmla="*/ 0 w 1869321"/>
              <a:gd name="connsiteY3" fmla="*/ 0 h 257442"/>
              <a:gd name="connsiteX0" fmla="*/ 1970311 w 1970311"/>
              <a:gd name="connsiteY0" fmla="*/ 0 h 257442"/>
              <a:gd name="connsiteX1" fmla="*/ 1814600 w 1970311"/>
              <a:gd name="connsiteY1" fmla="*/ 257442 h 257442"/>
              <a:gd name="connsiteX2" fmla="*/ 0 w 1970311"/>
              <a:gd name="connsiteY2" fmla="*/ 257442 h 257442"/>
              <a:gd name="connsiteX3" fmla="*/ 0 w 1970311"/>
              <a:gd name="connsiteY3" fmla="*/ 0 h 257442"/>
              <a:gd name="connsiteX0" fmla="*/ 1970311 w 1970311"/>
              <a:gd name="connsiteY0" fmla="*/ 0 h 257442"/>
              <a:gd name="connsiteX1" fmla="*/ 1915590 w 1970311"/>
              <a:gd name="connsiteY1" fmla="*/ 257442 h 257442"/>
              <a:gd name="connsiteX2" fmla="*/ 0 w 1970311"/>
              <a:gd name="connsiteY2" fmla="*/ 257442 h 257442"/>
              <a:gd name="connsiteX3" fmla="*/ 0 w 1970311"/>
              <a:gd name="connsiteY3" fmla="*/ 0 h 257442"/>
              <a:gd name="connsiteX0" fmla="*/ 1970311 w 1970311"/>
              <a:gd name="connsiteY0" fmla="*/ 0 h 257442"/>
              <a:gd name="connsiteX1" fmla="*/ 1915590 w 1970311"/>
              <a:gd name="connsiteY1" fmla="*/ 257442 h 257442"/>
              <a:gd name="connsiteX2" fmla="*/ 0 w 1970311"/>
              <a:gd name="connsiteY2" fmla="*/ 257442 h 257442"/>
              <a:gd name="connsiteX3" fmla="*/ 0 w 1970311"/>
              <a:gd name="connsiteY3" fmla="*/ 0 h 257442"/>
              <a:gd name="connsiteX0" fmla="*/ 1970311 w 1970311"/>
              <a:gd name="connsiteY0" fmla="*/ 0 h 257442"/>
              <a:gd name="connsiteX1" fmla="*/ 1915590 w 1970311"/>
              <a:gd name="connsiteY1" fmla="*/ 257442 h 257442"/>
              <a:gd name="connsiteX2" fmla="*/ 0 w 1970311"/>
              <a:gd name="connsiteY2" fmla="*/ 257442 h 257442"/>
              <a:gd name="connsiteX3" fmla="*/ 0 w 1970311"/>
              <a:gd name="connsiteY3" fmla="*/ 0 h 257442"/>
              <a:gd name="connsiteX0" fmla="*/ 2122596 w 2122596"/>
              <a:gd name="connsiteY0" fmla="*/ 0 h 257442"/>
              <a:gd name="connsiteX1" fmla="*/ 1915590 w 2122596"/>
              <a:gd name="connsiteY1" fmla="*/ 257442 h 257442"/>
              <a:gd name="connsiteX2" fmla="*/ 0 w 2122596"/>
              <a:gd name="connsiteY2" fmla="*/ 257442 h 257442"/>
              <a:gd name="connsiteX3" fmla="*/ 0 w 2122596"/>
              <a:gd name="connsiteY3" fmla="*/ 0 h 257442"/>
              <a:gd name="connsiteX0" fmla="*/ 2122596 w 2122596"/>
              <a:gd name="connsiteY0" fmla="*/ 0 h 257442"/>
              <a:gd name="connsiteX1" fmla="*/ 2067874 w 2122596"/>
              <a:gd name="connsiteY1" fmla="*/ 257442 h 257442"/>
              <a:gd name="connsiteX2" fmla="*/ 0 w 2122596"/>
              <a:gd name="connsiteY2" fmla="*/ 257442 h 257442"/>
              <a:gd name="connsiteX3" fmla="*/ 0 w 2122596"/>
              <a:gd name="connsiteY3" fmla="*/ 0 h 257442"/>
              <a:gd name="connsiteX0" fmla="*/ 2122597 w 2122597"/>
              <a:gd name="connsiteY0" fmla="*/ 0 h 257442"/>
              <a:gd name="connsiteX1" fmla="*/ 2067875 w 2122597"/>
              <a:gd name="connsiteY1" fmla="*/ 257442 h 257442"/>
              <a:gd name="connsiteX2" fmla="*/ 0 w 2122597"/>
              <a:gd name="connsiteY2" fmla="*/ 257442 h 257442"/>
              <a:gd name="connsiteX3" fmla="*/ 1 w 2122597"/>
              <a:gd name="connsiteY3" fmla="*/ 0 h 257442"/>
              <a:gd name="connsiteX0" fmla="*/ 2122597 w 2122597"/>
              <a:gd name="connsiteY0" fmla="*/ 0 h 257442"/>
              <a:gd name="connsiteX1" fmla="*/ 2067875 w 2122597"/>
              <a:gd name="connsiteY1" fmla="*/ 257442 h 257442"/>
              <a:gd name="connsiteX2" fmla="*/ 0 w 2122597"/>
              <a:gd name="connsiteY2" fmla="*/ 257442 h 257442"/>
              <a:gd name="connsiteX3" fmla="*/ 1 w 2122597"/>
              <a:gd name="connsiteY3" fmla="*/ 0 h 257442"/>
              <a:gd name="connsiteX0" fmla="*/ 2290913 w 2290913"/>
              <a:gd name="connsiteY0" fmla="*/ 0 h 257442"/>
              <a:gd name="connsiteX1" fmla="*/ 2067875 w 2290913"/>
              <a:gd name="connsiteY1" fmla="*/ 257442 h 257442"/>
              <a:gd name="connsiteX2" fmla="*/ 0 w 2290913"/>
              <a:gd name="connsiteY2" fmla="*/ 257442 h 257442"/>
              <a:gd name="connsiteX3" fmla="*/ 1 w 2290913"/>
              <a:gd name="connsiteY3" fmla="*/ 0 h 257442"/>
              <a:gd name="connsiteX0" fmla="*/ 2290913 w 2290913"/>
              <a:gd name="connsiteY0" fmla="*/ 0 h 257442"/>
              <a:gd name="connsiteX1" fmla="*/ 2236192 w 2290913"/>
              <a:gd name="connsiteY1" fmla="*/ 257442 h 257442"/>
              <a:gd name="connsiteX2" fmla="*/ 0 w 2290913"/>
              <a:gd name="connsiteY2" fmla="*/ 257442 h 257442"/>
              <a:gd name="connsiteX3" fmla="*/ 1 w 2290913"/>
              <a:gd name="connsiteY3" fmla="*/ 0 h 257442"/>
              <a:gd name="connsiteX0" fmla="*/ 2290912 w 2290912"/>
              <a:gd name="connsiteY0" fmla="*/ 0 h 257442"/>
              <a:gd name="connsiteX1" fmla="*/ 2236191 w 2290912"/>
              <a:gd name="connsiteY1" fmla="*/ 257442 h 257442"/>
              <a:gd name="connsiteX2" fmla="*/ 0 w 2290912"/>
              <a:gd name="connsiteY2" fmla="*/ 257442 h 257442"/>
              <a:gd name="connsiteX3" fmla="*/ 0 w 2290912"/>
              <a:gd name="connsiteY3" fmla="*/ 0 h 257442"/>
              <a:gd name="connsiteX0" fmla="*/ 2290913 w 2290913"/>
              <a:gd name="connsiteY0" fmla="*/ 0 h 257442"/>
              <a:gd name="connsiteX1" fmla="*/ 2236192 w 2290913"/>
              <a:gd name="connsiteY1" fmla="*/ 257442 h 257442"/>
              <a:gd name="connsiteX2" fmla="*/ 1 w 2290913"/>
              <a:gd name="connsiteY2" fmla="*/ 257442 h 257442"/>
              <a:gd name="connsiteX3" fmla="*/ 0 w 2290913"/>
              <a:gd name="connsiteY3" fmla="*/ 0 h 257442"/>
              <a:gd name="connsiteX0" fmla="*/ 2391901 w 2391901"/>
              <a:gd name="connsiteY0" fmla="*/ 0 h 257442"/>
              <a:gd name="connsiteX1" fmla="*/ 2236192 w 2391901"/>
              <a:gd name="connsiteY1" fmla="*/ 257442 h 257442"/>
              <a:gd name="connsiteX2" fmla="*/ 1 w 2391901"/>
              <a:gd name="connsiteY2" fmla="*/ 257442 h 257442"/>
              <a:gd name="connsiteX3" fmla="*/ 0 w 2391901"/>
              <a:gd name="connsiteY3" fmla="*/ 0 h 257442"/>
              <a:gd name="connsiteX0" fmla="*/ 2391901 w 2391901"/>
              <a:gd name="connsiteY0" fmla="*/ 0 h 257442"/>
              <a:gd name="connsiteX1" fmla="*/ 2337180 w 2391901"/>
              <a:gd name="connsiteY1" fmla="*/ 257442 h 257442"/>
              <a:gd name="connsiteX2" fmla="*/ 1 w 2391901"/>
              <a:gd name="connsiteY2" fmla="*/ 257442 h 257442"/>
              <a:gd name="connsiteX3" fmla="*/ 0 w 2391901"/>
              <a:gd name="connsiteY3" fmla="*/ 0 h 257442"/>
              <a:gd name="connsiteX0" fmla="*/ 2391901 w 2391901"/>
              <a:gd name="connsiteY0" fmla="*/ 0 h 257442"/>
              <a:gd name="connsiteX1" fmla="*/ 2337180 w 2391901"/>
              <a:gd name="connsiteY1" fmla="*/ 257442 h 257442"/>
              <a:gd name="connsiteX2" fmla="*/ 1 w 2391901"/>
              <a:gd name="connsiteY2" fmla="*/ 257442 h 257442"/>
              <a:gd name="connsiteX3" fmla="*/ 0 w 2391901"/>
              <a:gd name="connsiteY3" fmla="*/ 0 h 257442"/>
              <a:gd name="connsiteX0" fmla="*/ 2391900 w 2391900"/>
              <a:gd name="connsiteY0" fmla="*/ 0 h 257442"/>
              <a:gd name="connsiteX1" fmla="*/ 2337179 w 2391900"/>
              <a:gd name="connsiteY1" fmla="*/ 257442 h 257442"/>
              <a:gd name="connsiteX2" fmla="*/ 0 w 2391900"/>
              <a:gd name="connsiteY2" fmla="*/ 257442 h 257442"/>
              <a:gd name="connsiteX3" fmla="*/ 0 w 2391900"/>
              <a:gd name="connsiteY3" fmla="*/ 0 h 257442"/>
              <a:gd name="connsiteX0" fmla="*/ 2569833 w 2569833"/>
              <a:gd name="connsiteY0" fmla="*/ 0 h 257442"/>
              <a:gd name="connsiteX1" fmla="*/ 2337179 w 2569833"/>
              <a:gd name="connsiteY1" fmla="*/ 257442 h 257442"/>
              <a:gd name="connsiteX2" fmla="*/ 0 w 2569833"/>
              <a:gd name="connsiteY2" fmla="*/ 257442 h 257442"/>
              <a:gd name="connsiteX3" fmla="*/ 0 w 2569833"/>
              <a:gd name="connsiteY3" fmla="*/ 0 h 257442"/>
              <a:gd name="connsiteX0" fmla="*/ 2569833 w 2569833"/>
              <a:gd name="connsiteY0" fmla="*/ 0 h 257442"/>
              <a:gd name="connsiteX1" fmla="*/ 2515112 w 2569833"/>
              <a:gd name="connsiteY1" fmla="*/ 257442 h 257442"/>
              <a:gd name="connsiteX2" fmla="*/ 0 w 2569833"/>
              <a:gd name="connsiteY2" fmla="*/ 257442 h 257442"/>
              <a:gd name="connsiteX3" fmla="*/ 0 w 2569833"/>
              <a:gd name="connsiteY3" fmla="*/ 0 h 257442"/>
              <a:gd name="connsiteX0" fmla="*/ 2569834 w 2569834"/>
              <a:gd name="connsiteY0" fmla="*/ 0 h 257442"/>
              <a:gd name="connsiteX1" fmla="*/ 2515113 w 2569834"/>
              <a:gd name="connsiteY1" fmla="*/ 257442 h 257442"/>
              <a:gd name="connsiteX2" fmla="*/ 0 w 2569834"/>
              <a:gd name="connsiteY2" fmla="*/ 257442 h 257442"/>
              <a:gd name="connsiteX3" fmla="*/ 1 w 2569834"/>
              <a:gd name="connsiteY3" fmla="*/ 0 h 257442"/>
              <a:gd name="connsiteX0" fmla="*/ 2569834 w 2569834"/>
              <a:gd name="connsiteY0" fmla="*/ 0 h 257442"/>
              <a:gd name="connsiteX1" fmla="*/ 2515113 w 2569834"/>
              <a:gd name="connsiteY1" fmla="*/ 257442 h 257442"/>
              <a:gd name="connsiteX2" fmla="*/ 0 w 2569834"/>
              <a:gd name="connsiteY2" fmla="*/ 257442 h 257442"/>
              <a:gd name="connsiteX3" fmla="*/ 0 w 2569834"/>
              <a:gd name="connsiteY3" fmla="*/ 0 h 257442"/>
              <a:gd name="connsiteX0" fmla="*/ 2738149 w 2738149"/>
              <a:gd name="connsiteY0" fmla="*/ 0 h 257442"/>
              <a:gd name="connsiteX1" fmla="*/ 2515113 w 2738149"/>
              <a:gd name="connsiteY1" fmla="*/ 257442 h 257442"/>
              <a:gd name="connsiteX2" fmla="*/ 0 w 2738149"/>
              <a:gd name="connsiteY2" fmla="*/ 257442 h 257442"/>
              <a:gd name="connsiteX3" fmla="*/ 0 w 2738149"/>
              <a:gd name="connsiteY3" fmla="*/ 0 h 257442"/>
              <a:gd name="connsiteX0" fmla="*/ 2738149 w 2738149"/>
              <a:gd name="connsiteY0" fmla="*/ 0 h 257442"/>
              <a:gd name="connsiteX1" fmla="*/ 2683428 w 2738149"/>
              <a:gd name="connsiteY1" fmla="*/ 257442 h 257442"/>
              <a:gd name="connsiteX2" fmla="*/ 0 w 2738149"/>
              <a:gd name="connsiteY2" fmla="*/ 257442 h 257442"/>
              <a:gd name="connsiteX3" fmla="*/ 0 w 2738149"/>
              <a:gd name="connsiteY3" fmla="*/ 0 h 257442"/>
              <a:gd name="connsiteX0" fmla="*/ 2738149 w 2738149"/>
              <a:gd name="connsiteY0" fmla="*/ 0 h 257442"/>
              <a:gd name="connsiteX1" fmla="*/ 2683428 w 2738149"/>
              <a:gd name="connsiteY1" fmla="*/ 257442 h 257442"/>
              <a:gd name="connsiteX2" fmla="*/ 0 w 2738149"/>
              <a:gd name="connsiteY2" fmla="*/ 257442 h 257442"/>
              <a:gd name="connsiteX3" fmla="*/ 0 w 2738149"/>
              <a:gd name="connsiteY3" fmla="*/ 0 h 257442"/>
              <a:gd name="connsiteX0" fmla="*/ 2738149 w 2738149"/>
              <a:gd name="connsiteY0" fmla="*/ 0 h 257442"/>
              <a:gd name="connsiteX1" fmla="*/ 2683428 w 2738149"/>
              <a:gd name="connsiteY1" fmla="*/ 257442 h 257442"/>
              <a:gd name="connsiteX2" fmla="*/ 0 w 2738149"/>
              <a:gd name="connsiteY2" fmla="*/ 257442 h 257442"/>
              <a:gd name="connsiteX3" fmla="*/ 0 w 2738149"/>
              <a:gd name="connsiteY3" fmla="*/ 0 h 257442"/>
              <a:gd name="connsiteX0" fmla="*/ 2890435 w 2890435"/>
              <a:gd name="connsiteY0" fmla="*/ 0 h 257442"/>
              <a:gd name="connsiteX1" fmla="*/ 2683428 w 2890435"/>
              <a:gd name="connsiteY1" fmla="*/ 257442 h 257442"/>
              <a:gd name="connsiteX2" fmla="*/ 0 w 2890435"/>
              <a:gd name="connsiteY2" fmla="*/ 257442 h 257442"/>
              <a:gd name="connsiteX3" fmla="*/ 0 w 2890435"/>
              <a:gd name="connsiteY3" fmla="*/ 0 h 257442"/>
              <a:gd name="connsiteX0" fmla="*/ 2890435 w 2890435"/>
              <a:gd name="connsiteY0" fmla="*/ 0 h 257442"/>
              <a:gd name="connsiteX1" fmla="*/ 2835714 w 2890435"/>
              <a:gd name="connsiteY1" fmla="*/ 257442 h 257442"/>
              <a:gd name="connsiteX2" fmla="*/ 0 w 2890435"/>
              <a:gd name="connsiteY2" fmla="*/ 257442 h 257442"/>
              <a:gd name="connsiteX3" fmla="*/ 0 w 2890435"/>
              <a:gd name="connsiteY3" fmla="*/ 0 h 257442"/>
              <a:gd name="connsiteX0" fmla="*/ 2890435 w 2890435"/>
              <a:gd name="connsiteY0" fmla="*/ 0 h 257442"/>
              <a:gd name="connsiteX1" fmla="*/ 2835714 w 2890435"/>
              <a:gd name="connsiteY1" fmla="*/ 257442 h 257442"/>
              <a:gd name="connsiteX2" fmla="*/ 0 w 2890435"/>
              <a:gd name="connsiteY2" fmla="*/ 257442 h 257442"/>
              <a:gd name="connsiteX3" fmla="*/ 0 w 2890435"/>
              <a:gd name="connsiteY3" fmla="*/ 0 h 257442"/>
              <a:gd name="connsiteX0" fmla="*/ 2890435 w 2890435"/>
              <a:gd name="connsiteY0" fmla="*/ 0 h 257442"/>
              <a:gd name="connsiteX1" fmla="*/ 2835714 w 2890435"/>
              <a:gd name="connsiteY1" fmla="*/ 257442 h 257442"/>
              <a:gd name="connsiteX2" fmla="*/ 0 w 2890435"/>
              <a:gd name="connsiteY2" fmla="*/ 257442 h 257442"/>
              <a:gd name="connsiteX3" fmla="*/ 0 w 2890435"/>
              <a:gd name="connsiteY3" fmla="*/ 0 h 257442"/>
              <a:gd name="connsiteX0" fmla="*/ 2991423 w 2991423"/>
              <a:gd name="connsiteY0" fmla="*/ 0 h 257442"/>
              <a:gd name="connsiteX1" fmla="*/ 2835714 w 2991423"/>
              <a:gd name="connsiteY1" fmla="*/ 257442 h 257442"/>
              <a:gd name="connsiteX2" fmla="*/ 0 w 2991423"/>
              <a:gd name="connsiteY2" fmla="*/ 257442 h 257442"/>
              <a:gd name="connsiteX3" fmla="*/ 0 w 2991423"/>
              <a:gd name="connsiteY3" fmla="*/ 0 h 257442"/>
              <a:gd name="connsiteX0" fmla="*/ 2991423 w 2991423"/>
              <a:gd name="connsiteY0" fmla="*/ 0 h 257442"/>
              <a:gd name="connsiteX1" fmla="*/ 2936702 w 2991423"/>
              <a:gd name="connsiteY1" fmla="*/ 257442 h 257442"/>
              <a:gd name="connsiteX2" fmla="*/ 0 w 2991423"/>
              <a:gd name="connsiteY2" fmla="*/ 257442 h 257442"/>
              <a:gd name="connsiteX3" fmla="*/ 0 w 2991423"/>
              <a:gd name="connsiteY3" fmla="*/ 0 h 257442"/>
              <a:gd name="connsiteX0" fmla="*/ 2991423 w 2991423"/>
              <a:gd name="connsiteY0" fmla="*/ 0 h 257442"/>
              <a:gd name="connsiteX1" fmla="*/ 2936702 w 2991423"/>
              <a:gd name="connsiteY1" fmla="*/ 257442 h 257442"/>
              <a:gd name="connsiteX2" fmla="*/ 0 w 2991423"/>
              <a:gd name="connsiteY2" fmla="*/ 257442 h 257442"/>
              <a:gd name="connsiteX3" fmla="*/ 0 w 2991423"/>
              <a:gd name="connsiteY3" fmla="*/ 0 h 257442"/>
              <a:gd name="connsiteX0" fmla="*/ 2991423 w 2991423"/>
              <a:gd name="connsiteY0" fmla="*/ 0 h 257442"/>
              <a:gd name="connsiteX1" fmla="*/ 2936702 w 2991423"/>
              <a:gd name="connsiteY1" fmla="*/ 257442 h 257442"/>
              <a:gd name="connsiteX2" fmla="*/ 0 w 2991423"/>
              <a:gd name="connsiteY2" fmla="*/ 257442 h 257442"/>
              <a:gd name="connsiteX3" fmla="*/ 0 w 2991423"/>
              <a:gd name="connsiteY3" fmla="*/ 0 h 257442"/>
              <a:gd name="connsiteX0" fmla="*/ 3159739 w 3159739"/>
              <a:gd name="connsiteY0" fmla="*/ 0 h 257442"/>
              <a:gd name="connsiteX1" fmla="*/ 2936702 w 3159739"/>
              <a:gd name="connsiteY1" fmla="*/ 257442 h 257442"/>
              <a:gd name="connsiteX2" fmla="*/ 0 w 3159739"/>
              <a:gd name="connsiteY2" fmla="*/ 257442 h 257442"/>
              <a:gd name="connsiteX3" fmla="*/ 0 w 3159739"/>
              <a:gd name="connsiteY3" fmla="*/ 0 h 257442"/>
              <a:gd name="connsiteX0" fmla="*/ 3159739 w 3159739"/>
              <a:gd name="connsiteY0" fmla="*/ 0 h 257442"/>
              <a:gd name="connsiteX1" fmla="*/ 3105018 w 3159739"/>
              <a:gd name="connsiteY1" fmla="*/ 257442 h 257442"/>
              <a:gd name="connsiteX2" fmla="*/ 0 w 3159739"/>
              <a:gd name="connsiteY2" fmla="*/ 257442 h 257442"/>
              <a:gd name="connsiteX3" fmla="*/ 0 w 3159739"/>
              <a:gd name="connsiteY3" fmla="*/ 0 h 257442"/>
              <a:gd name="connsiteX0" fmla="*/ 3159739 w 3159739"/>
              <a:gd name="connsiteY0" fmla="*/ 0 h 257442"/>
              <a:gd name="connsiteX1" fmla="*/ 3105018 w 3159739"/>
              <a:gd name="connsiteY1" fmla="*/ 257442 h 257442"/>
              <a:gd name="connsiteX2" fmla="*/ 0 w 3159739"/>
              <a:gd name="connsiteY2" fmla="*/ 257442 h 257442"/>
              <a:gd name="connsiteX3" fmla="*/ 0 w 3159739"/>
              <a:gd name="connsiteY3" fmla="*/ 0 h 257442"/>
              <a:gd name="connsiteX0" fmla="*/ 3159739 w 3159739"/>
              <a:gd name="connsiteY0" fmla="*/ 0 h 257442"/>
              <a:gd name="connsiteX1" fmla="*/ 3105018 w 3159739"/>
              <a:gd name="connsiteY1" fmla="*/ 257442 h 257442"/>
              <a:gd name="connsiteX2" fmla="*/ 0 w 3159739"/>
              <a:gd name="connsiteY2" fmla="*/ 257442 h 257442"/>
              <a:gd name="connsiteX3" fmla="*/ 0 w 3159739"/>
              <a:gd name="connsiteY3" fmla="*/ 0 h 257442"/>
              <a:gd name="connsiteX0" fmla="*/ 3320039 w 3320039"/>
              <a:gd name="connsiteY0" fmla="*/ 0 h 257442"/>
              <a:gd name="connsiteX1" fmla="*/ 3105018 w 3320039"/>
              <a:gd name="connsiteY1" fmla="*/ 257442 h 257442"/>
              <a:gd name="connsiteX2" fmla="*/ 0 w 3320039"/>
              <a:gd name="connsiteY2" fmla="*/ 257442 h 257442"/>
              <a:gd name="connsiteX3" fmla="*/ 0 w 3320039"/>
              <a:gd name="connsiteY3" fmla="*/ 0 h 257442"/>
              <a:gd name="connsiteX0" fmla="*/ 3320039 w 3320039"/>
              <a:gd name="connsiteY0" fmla="*/ 0 h 257442"/>
              <a:gd name="connsiteX1" fmla="*/ 3265318 w 3320039"/>
              <a:gd name="connsiteY1" fmla="*/ 257442 h 257442"/>
              <a:gd name="connsiteX2" fmla="*/ 0 w 3320039"/>
              <a:gd name="connsiteY2" fmla="*/ 257442 h 257442"/>
              <a:gd name="connsiteX3" fmla="*/ 0 w 3320039"/>
              <a:gd name="connsiteY3" fmla="*/ 0 h 257442"/>
              <a:gd name="connsiteX0" fmla="*/ 3320039 w 3320039"/>
              <a:gd name="connsiteY0" fmla="*/ 0 h 257442"/>
              <a:gd name="connsiteX1" fmla="*/ 3265318 w 3320039"/>
              <a:gd name="connsiteY1" fmla="*/ 257442 h 257442"/>
              <a:gd name="connsiteX2" fmla="*/ 0 w 3320039"/>
              <a:gd name="connsiteY2" fmla="*/ 257442 h 257442"/>
              <a:gd name="connsiteX3" fmla="*/ 0 w 3320039"/>
              <a:gd name="connsiteY3" fmla="*/ 0 h 257442"/>
              <a:gd name="connsiteX0" fmla="*/ 3320039 w 3320039"/>
              <a:gd name="connsiteY0" fmla="*/ 0 h 257442"/>
              <a:gd name="connsiteX1" fmla="*/ 3265318 w 3320039"/>
              <a:gd name="connsiteY1" fmla="*/ 257442 h 257442"/>
              <a:gd name="connsiteX2" fmla="*/ 0 w 3320039"/>
              <a:gd name="connsiteY2" fmla="*/ 257442 h 257442"/>
              <a:gd name="connsiteX3" fmla="*/ 0 w 3320039"/>
              <a:gd name="connsiteY3" fmla="*/ 0 h 257442"/>
              <a:gd name="connsiteX0" fmla="*/ 934771 w 3265318"/>
              <a:gd name="connsiteY0" fmla="*/ 0 h 257442"/>
              <a:gd name="connsiteX1" fmla="*/ 3265318 w 3265318"/>
              <a:gd name="connsiteY1" fmla="*/ 257442 h 257442"/>
              <a:gd name="connsiteX2" fmla="*/ 0 w 3265318"/>
              <a:gd name="connsiteY2" fmla="*/ 257442 h 257442"/>
              <a:gd name="connsiteX3" fmla="*/ 0 w 3265318"/>
              <a:gd name="connsiteY3" fmla="*/ 0 h 257442"/>
              <a:gd name="connsiteX0" fmla="*/ 934771 w 934771"/>
              <a:gd name="connsiteY0" fmla="*/ 0 h 257442"/>
              <a:gd name="connsiteX1" fmla="*/ 880050 w 934771"/>
              <a:gd name="connsiteY1" fmla="*/ 257442 h 257442"/>
              <a:gd name="connsiteX2" fmla="*/ 0 w 934771"/>
              <a:gd name="connsiteY2" fmla="*/ 257442 h 257442"/>
              <a:gd name="connsiteX3" fmla="*/ 0 w 934771"/>
              <a:gd name="connsiteY3" fmla="*/ 0 h 257442"/>
              <a:gd name="connsiteX0" fmla="*/ 934771 w 934771"/>
              <a:gd name="connsiteY0" fmla="*/ 0 h 257442"/>
              <a:gd name="connsiteX1" fmla="*/ 880050 w 934771"/>
              <a:gd name="connsiteY1" fmla="*/ 257442 h 257442"/>
              <a:gd name="connsiteX2" fmla="*/ 1 w 934771"/>
              <a:gd name="connsiteY2" fmla="*/ 257442 h 257442"/>
              <a:gd name="connsiteX3" fmla="*/ 0 w 934771"/>
              <a:gd name="connsiteY3" fmla="*/ 0 h 257442"/>
              <a:gd name="connsiteX0" fmla="*/ 934770 w 934770"/>
              <a:gd name="connsiteY0" fmla="*/ 0 h 257442"/>
              <a:gd name="connsiteX1" fmla="*/ 880049 w 934770"/>
              <a:gd name="connsiteY1" fmla="*/ 257442 h 257442"/>
              <a:gd name="connsiteX2" fmla="*/ 0 w 934770"/>
              <a:gd name="connsiteY2" fmla="*/ 257442 h 257442"/>
              <a:gd name="connsiteX3" fmla="*/ 0 w 934770"/>
              <a:gd name="connsiteY3" fmla="*/ 0 h 257442"/>
              <a:gd name="connsiteX0" fmla="*/ 1095070 w 1095070"/>
              <a:gd name="connsiteY0" fmla="*/ 0 h 257442"/>
              <a:gd name="connsiteX1" fmla="*/ 880049 w 1095070"/>
              <a:gd name="connsiteY1" fmla="*/ 257442 h 257442"/>
              <a:gd name="connsiteX2" fmla="*/ 0 w 1095070"/>
              <a:gd name="connsiteY2" fmla="*/ 257442 h 257442"/>
              <a:gd name="connsiteX3" fmla="*/ 0 w 1095070"/>
              <a:gd name="connsiteY3" fmla="*/ 0 h 257442"/>
              <a:gd name="connsiteX0" fmla="*/ 1095070 w 1095070"/>
              <a:gd name="connsiteY0" fmla="*/ 0 h 257442"/>
              <a:gd name="connsiteX1" fmla="*/ 1040349 w 1095070"/>
              <a:gd name="connsiteY1" fmla="*/ 257442 h 257442"/>
              <a:gd name="connsiteX2" fmla="*/ 0 w 1095070"/>
              <a:gd name="connsiteY2" fmla="*/ 257442 h 257442"/>
              <a:gd name="connsiteX3" fmla="*/ 0 w 1095070"/>
              <a:gd name="connsiteY3" fmla="*/ 0 h 257442"/>
              <a:gd name="connsiteX0" fmla="*/ 1095071 w 1095071"/>
              <a:gd name="connsiteY0" fmla="*/ 0 h 257442"/>
              <a:gd name="connsiteX1" fmla="*/ 1040350 w 1095071"/>
              <a:gd name="connsiteY1" fmla="*/ 257442 h 257442"/>
              <a:gd name="connsiteX2" fmla="*/ 0 w 1095071"/>
              <a:gd name="connsiteY2" fmla="*/ 257442 h 257442"/>
              <a:gd name="connsiteX3" fmla="*/ 1 w 1095071"/>
              <a:gd name="connsiteY3" fmla="*/ 0 h 257442"/>
              <a:gd name="connsiteX0" fmla="*/ 1095071 w 1095071"/>
              <a:gd name="connsiteY0" fmla="*/ 0 h 257442"/>
              <a:gd name="connsiteX1" fmla="*/ 1040350 w 1095071"/>
              <a:gd name="connsiteY1" fmla="*/ 257442 h 257442"/>
              <a:gd name="connsiteX2" fmla="*/ 0 w 1095071"/>
              <a:gd name="connsiteY2" fmla="*/ 257442 h 257442"/>
              <a:gd name="connsiteX3" fmla="*/ 1 w 1095071"/>
              <a:gd name="connsiteY3" fmla="*/ 0 h 257442"/>
              <a:gd name="connsiteX0" fmla="*/ 1255373 w 1255373"/>
              <a:gd name="connsiteY0" fmla="*/ 0 h 257442"/>
              <a:gd name="connsiteX1" fmla="*/ 1040350 w 1255373"/>
              <a:gd name="connsiteY1" fmla="*/ 257442 h 257442"/>
              <a:gd name="connsiteX2" fmla="*/ 0 w 1255373"/>
              <a:gd name="connsiteY2" fmla="*/ 257442 h 257442"/>
              <a:gd name="connsiteX3" fmla="*/ 1 w 1255373"/>
              <a:gd name="connsiteY3" fmla="*/ 0 h 257442"/>
              <a:gd name="connsiteX0" fmla="*/ 1255373 w 1255373"/>
              <a:gd name="connsiteY0" fmla="*/ 0 h 257442"/>
              <a:gd name="connsiteX1" fmla="*/ 1200652 w 1255373"/>
              <a:gd name="connsiteY1" fmla="*/ 257442 h 257442"/>
              <a:gd name="connsiteX2" fmla="*/ 0 w 1255373"/>
              <a:gd name="connsiteY2" fmla="*/ 257442 h 257442"/>
              <a:gd name="connsiteX3" fmla="*/ 1 w 1255373"/>
              <a:gd name="connsiteY3" fmla="*/ 0 h 257442"/>
              <a:gd name="connsiteX0" fmla="*/ 1255372 w 1255372"/>
              <a:gd name="connsiteY0" fmla="*/ 0 h 257442"/>
              <a:gd name="connsiteX1" fmla="*/ 1200651 w 1255372"/>
              <a:gd name="connsiteY1" fmla="*/ 257442 h 257442"/>
              <a:gd name="connsiteX2" fmla="*/ 0 w 1255372"/>
              <a:gd name="connsiteY2" fmla="*/ 257442 h 257442"/>
              <a:gd name="connsiteX3" fmla="*/ 0 w 1255372"/>
              <a:gd name="connsiteY3" fmla="*/ 0 h 257442"/>
              <a:gd name="connsiteX0" fmla="*/ 1255373 w 1255373"/>
              <a:gd name="connsiteY0" fmla="*/ 0 h 257442"/>
              <a:gd name="connsiteX1" fmla="*/ 1200652 w 1255373"/>
              <a:gd name="connsiteY1" fmla="*/ 257442 h 257442"/>
              <a:gd name="connsiteX2" fmla="*/ 1 w 1255373"/>
              <a:gd name="connsiteY2" fmla="*/ 257442 h 257442"/>
              <a:gd name="connsiteX3" fmla="*/ 0 w 1255373"/>
              <a:gd name="connsiteY3" fmla="*/ 0 h 257442"/>
              <a:gd name="connsiteX0" fmla="*/ 1423688 w 1423688"/>
              <a:gd name="connsiteY0" fmla="*/ 0 h 257442"/>
              <a:gd name="connsiteX1" fmla="*/ 1200652 w 1423688"/>
              <a:gd name="connsiteY1" fmla="*/ 257442 h 257442"/>
              <a:gd name="connsiteX2" fmla="*/ 1 w 1423688"/>
              <a:gd name="connsiteY2" fmla="*/ 257442 h 257442"/>
              <a:gd name="connsiteX3" fmla="*/ 0 w 1423688"/>
              <a:gd name="connsiteY3" fmla="*/ 0 h 257442"/>
              <a:gd name="connsiteX0" fmla="*/ 1423688 w 1423688"/>
              <a:gd name="connsiteY0" fmla="*/ 0 h 257442"/>
              <a:gd name="connsiteX1" fmla="*/ 1368966 w 1423688"/>
              <a:gd name="connsiteY1" fmla="*/ 257442 h 257442"/>
              <a:gd name="connsiteX2" fmla="*/ 1 w 1423688"/>
              <a:gd name="connsiteY2" fmla="*/ 257442 h 257442"/>
              <a:gd name="connsiteX3" fmla="*/ 0 w 1423688"/>
              <a:gd name="connsiteY3" fmla="*/ 0 h 257442"/>
              <a:gd name="connsiteX0" fmla="*/ 1423688 w 1423688"/>
              <a:gd name="connsiteY0" fmla="*/ 0 h 257442"/>
              <a:gd name="connsiteX1" fmla="*/ 1368966 w 1423688"/>
              <a:gd name="connsiteY1" fmla="*/ 257442 h 257442"/>
              <a:gd name="connsiteX2" fmla="*/ 0 w 1423688"/>
              <a:gd name="connsiteY2" fmla="*/ 257442 h 257442"/>
              <a:gd name="connsiteX3" fmla="*/ 0 w 1423688"/>
              <a:gd name="connsiteY3" fmla="*/ 0 h 257442"/>
              <a:gd name="connsiteX0" fmla="*/ 1423688 w 1423688"/>
              <a:gd name="connsiteY0" fmla="*/ 0 h 257442"/>
              <a:gd name="connsiteX1" fmla="*/ 1368966 w 1423688"/>
              <a:gd name="connsiteY1" fmla="*/ 257442 h 257442"/>
              <a:gd name="connsiteX2" fmla="*/ 0 w 1423688"/>
              <a:gd name="connsiteY2" fmla="*/ 257442 h 257442"/>
              <a:gd name="connsiteX3" fmla="*/ 0 w 1423688"/>
              <a:gd name="connsiteY3" fmla="*/ 0 h 257442"/>
              <a:gd name="connsiteX0" fmla="*/ 1592002 w 1592002"/>
              <a:gd name="connsiteY0" fmla="*/ 0 h 257442"/>
              <a:gd name="connsiteX1" fmla="*/ 1368966 w 1592002"/>
              <a:gd name="connsiteY1" fmla="*/ 257442 h 257442"/>
              <a:gd name="connsiteX2" fmla="*/ 0 w 1592002"/>
              <a:gd name="connsiteY2" fmla="*/ 257442 h 257442"/>
              <a:gd name="connsiteX3" fmla="*/ 0 w 1592002"/>
              <a:gd name="connsiteY3" fmla="*/ 0 h 257442"/>
              <a:gd name="connsiteX0" fmla="*/ 1592002 w 1592002"/>
              <a:gd name="connsiteY0" fmla="*/ 0 h 257442"/>
              <a:gd name="connsiteX1" fmla="*/ 1537281 w 1592002"/>
              <a:gd name="connsiteY1" fmla="*/ 257442 h 257442"/>
              <a:gd name="connsiteX2" fmla="*/ 0 w 1592002"/>
              <a:gd name="connsiteY2" fmla="*/ 257442 h 257442"/>
              <a:gd name="connsiteX3" fmla="*/ 0 w 1592002"/>
              <a:gd name="connsiteY3" fmla="*/ 0 h 257442"/>
              <a:gd name="connsiteX0" fmla="*/ 1592002 w 1592002"/>
              <a:gd name="connsiteY0" fmla="*/ 0 h 257442"/>
              <a:gd name="connsiteX1" fmla="*/ 1537281 w 1592002"/>
              <a:gd name="connsiteY1" fmla="*/ 257442 h 257442"/>
              <a:gd name="connsiteX2" fmla="*/ 0 w 1592002"/>
              <a:gd name="connsiteY2" fmla="*/ 257442 h 257442"/>
              <a:gd name="connsiteX3" fmla="*/ 0 w 1592002"/>
              <a:gd name="connsiteY3" fmla="*/ 0 h 257442"/>
              <a:gd name="connsiteX0" fmla="*/ 1592002 w 1592002"/>
              <a:gd name="connsiteY0" fmla="*/ 0 h 257442"/>
              <a:gd name="connsiteX1" fmla="*/ 1537281 w 1592002"/>
              <a:gd name="connsiteY1" fmla="*/ 257442 h 257442"/>
              <a:gd name="connsiteX2" fmla="*/ 0 w 1592002"/>
              <a:gd name="connsiteY2" fmla="*/ 257442 h 257442"/>
              <a:gd name="connsiteX3" fmla="*/ 0 w 1592002"/>
              <a:gd name="connsiteY3" fmla="*/ 0 h 257442"/>
              <a:gd name="connsiteX0" fmla="*/ 1760317 w 1760317"/>
              <a:gd name="connsiteY0" fmla="*/ 0 h 257442"/>
              <a:gd name="connsiteX1" fmla="*/ 1537281 w 1760317"/>
              <a:gd name="connsiteY1" fmla="*/ 257442 h 257442"/>
              <a:gd name="connsiteX2" fmla="*/ 0 w 1760317"/>
              <a:gd name="connsiteY2" fmla="*/ 257442 h 257442"/>
              <a:gd name="connsiteX3" fmla="*/ 0 w 1760317"/>
              <a:gd name="connsiteY3" fmla="*/ 0 h 257442"/>
              <a:gd name="connsiteX0" fmla="*/ 1760317 w 1760317"/>
              <a:gd name="connsiteY0" fmla="*/ 0 h 257442"/>
              <a:gd name="connsiteX1" fmla="*/ 1705596 w 1760317"/>
              <a:gd name="connsiteY1" fmla="*/ 257442 h 257442"/>
              <a:gd name="connsiteX2" fmla="*/ 0 w 1760317"/>
              <a:gd name="connsiteY2" fmla="*/ 257442 h 257442"/>
              <a:gd name="connsiteX3" fmla="*/ 0 w 1760317"/>
              <a:gd name="connsiteY3" fmla="*/ 0 h 257442"/>
              <a:gd name="connsiteX0" fmla="*/ 1760317 w 1760317"/>
              <a:gd name="connsiteY0" fmla="*/ 0 h 257442"/>
              <a:gd name="connsiteX1" fmla="*/ 1705596 w 1760317"/>
              <a:gd name="connsiteY1" fmla="*/ 257442 h 257442"/>
              <a:gd name="connsiteX2" fmla="*/ 0 w 1760317"/>
              <a:gd name="connsiteY2" fmla="*/ 257442 h 257442"/>
              <a:gd name="connsiteX3" fmla="*/ 0 w 1760317"/>
              <a:gd name="connsiteY3" fmla="*/ 0 h 257442"/>
              <a:gd name="connsiteX0" fmla="*/ 1760317 w 1760317"/>
              <a:gd name="connsiteY0" fmla="*/ 0 h 257442"/>
              <a:gd name="connsiteX1" fmla="*/ 1705596 w 1760317"/>
              <a:gd name="connsiteY1" fmla="*/ 257442 h 257442"/>
              <a:gd name="connsiteX2" fmla="*/ 0 w 1760317"/>
              <a:gd name="connsiteY2" fmla="*/ 257442 h 257442"/>
              <a:gd name="connsiteX3" fmla="*/ 0 w 1760317"/>
              <a:gd name="connsiteY3" fmla="*/ 0 h 257442"/>
              <a:gd name="connsiteX0" fmla="*/ 1928633 w 1928633"/>
              <a:gd name="connsiteY0" fmla="*/ 0 h 257442"/>
              <a:gd name="connsiteX1" fmla="*/ 1705596 w 1928633"/>
              <a:gd name="connsiteY1" fmla="*/ 257442 h 257442"/>
              <a:gd name="connsiteX2" fmla="*/ 0 w 1928633"/>
              <a:gd name="connsiteY2" fmla="*/ 257442 h 257442"/>
              <a:gd name="connsiteX3" fmla="*/ 0 w 1928633"/>
              <a:gd name="connsiteY3" fmla="*/ 0 h 257442"/>
              <a:gd name="connsiteX0" fmla="*/ 1928633 w 1928633"/>
              <a:gd name="connsiteY0" fmla="*/ 0 h 257442"/>
              <a:gd name="connsiteX1" fmla="*/ 1873912 w 1928633"/>
              <a:gd name="connsiteY1" fmla="*/ 257442 h 257442"/>
              <a:gd name="connsiteX2" fmla="*/ 0 w 1928633"/>
              <a:gd name="connsiteY2" fmla="*/ 257442 h 257442"/>
              <a:gd name="connsiteX3" fmla="*/ 0 w 1928633"/>
              <a:gd name="connsiteY3" fmla="*/ 0 h 257442"/>
              <a:gd name="connsiteX0" fmla="*/ 1928633 w 1928633"/>
              <a:gd name="connsiteY0" fmla="*/ 0 h 257442"/>
              <a:gd name="connsiteX1" fmla="*/ 1873912 w 1928633"/>
              <a:gd name="connsiteY1" fmla="*/ 257442 h 257442"/>
              <a:gd name="connsiteX2" fmla="*/ 0 w 1928633"/>
              <a:gd name="connsiteY2" fmla="*/ 257442 h 257442"/>
              <a:gd name="connsiteX3" fmla="*/ 0 w 1928633"/>
              <a:gd name="connsiteY3" fmla="*/ 0 h 257442"/>
              <a:gd name="connsiteX0" fmla="*/ 1928633 w 1928633"/>
              <a:gd name="connsiteY0" fmla="*/ 0 h 257442"/>
              <a:gd name="connsiteX1" fmla="*/ 1873912 w 1928633"/>
              <a:gd name="connsiteY1" fmla="*/ 257442 h 257442"/>
              <a:gd name="connsiteX2" fmla="*/ 0 w 1928633"/>
              <a:gd name="connsiteY2" fmla="*/ 257442 h 257442"/>
              <a:gd name="connsiteX3" fmla="*/ 0 w 1928633"/>
              <a:gd name="connsiteY3" fmla="*/ 0 h 257442"/>
              <a:gd name="connsiteX0" fmla="*/ 2096948 w 2096948"/>
              <a:gd name="connsiteY0" fmla="*/ 0 h 257442"/>
              <a:gd name="connsiteX1" fmla="*/ 1873912 w 2096948"/>
              <a:gd name="connsiteY1" fmla="*/ 257442 h 257442"/>
              <a:gd name="connsiteX2" fmla="*/ 0 w 2096948"/>
              <a:gd name="connsiteY2" fmla="*/ 257442 h 257442"/>
              <a:gd name="connsiteX3" fmla="*/ 0 w 2096948"/>
              <a:gd name="connsiteY3" fmla="*/ 0 h 257442"/>
              <a:gd name="connsiteX0" fmla="*/ 2096948 w 2096948"/>
              <a:gd name="connsiteY0" fmla="*/ 0 h 257442"/>
              <a:gd name="connsiteX1" fmla="*/ 2042226 w 2096948"/>
              <a:gd name="connsiteY1" fmla="*/ 257442 h 257442"/>
              <a:gd name="connsiteX2" fmla="*/ 0 w 2096948"/>
              <a:gd name="connsiteY2" fmla="*/ 257442 h 257442"/>
              <a:gd name="connsiteX3" fmla="*/ 0 w 2096948"/>
              <a:gd name="connsiteY3" fmla="*/ 0 h 257442"/>
              <a:gd name="connsiteX0" fmla="*/ 2096949 w 2096949"/>
              <a:gd name="connsiteY0" fmla="*/ 0 h 257442"/>
              <a:gd name="connsiteX1" fmla="*/ 2042227 w 2096949"/>
              <a:gd name="connsiteY1" fmla="*/ 257442 h 257442"/>
              <a:gd name="connsiteX2" fmla="*/ 0 w 2096949"/>
              <a:gd name="connsiteY2" fmla="*/ 257442 h 257442"/>
              <a:gd name="connsiteX3" fmla="*/ 1 w 2096949"/>
              <a:gd name="connsiteY3" fmla="*/ 0 h 257442"/>
              <a:gd name="connsiteX0" fmla="*/ 2096949 w 2096949"/>
              <a:gd name="connsiteY0" fmla="*/ 0 h 257442"/>
              <a:gd name="connsiteX1" fmla="*/ 2042227 w 2096949"/>
              <a:gd name="connsiteY1" fmla="*/ 257442 h 257442"/>
              <a:gd name="connsiteX2" fmla="*/ 0 w 2096949"/>
              <a:gd name="connsiteY2" fmla="*/ 257442 h 257442"/>
              <a:gd name="connsiteX3" fmla="*/ 1 w 2096949"/>
              <a:gd name="connsiteY3" fmla="*/ 0 h 257442"/>
              <a:gd name="connsiteX0" fmla="*/ 2197938 w 2197938"/>
              <a:gd name="connsiteY0" fmla="*/ 0 h 257442"/>
              <a:gd name="connsiteX1" fmla="*/ 2042227 w 2197938"/>
              <a:gd name="connsiteY1" fmla="*/ 257442 h 257442"/>
              <a:gd name="connsiteX2" fmla="*/ 0 w 2197938"/>
              <a:gd name="connsiteY2" fmla="*/ 257442 h 257442"/>
              <a:gd name="connsiteX3" fmla="*/ 1 w 2197938"/>
              <a:gd name="connsiteY3" fmla="*/ 0 h 257442"/>
              <a:gd name="connsiteX0" fmla="*/ 2197938 w 2197938"/>
              <a:gd name="connsiteY0" fmla="*/ 0 h 257442"/>
              <a:gd name="connsiteX1" fmla="*/ 2143216 w 2197938"/>
              <a:gd name="connsiteY1" fmla="*/ 257442 h 257442"/>
              <a:gd name="connsiteX2" fmla="*/ 0 w 2197938"/>
              <a:gd name="connsiteY2" fmla="*/ 257442 h 257442"/>
              <a:gd name="connsiteX3" fmla="*/ 1 w 2197938"/>
              <a:gd name="connsiteY3" fmla="*/ 0 h 257442"/>
              <a:gd name="connsiteX0" fmla="*/ 2197938 w 2197938"/>
              <a:gd name="connsiteY0" fmla="*/ 0 h 257442"/>
              <a:gd name="connsiteX1" fmla="*/ 2143216 w 2197938"/>
              <a:gd name="connsiteY1" fmla="*/ 257442 h 257442"/>
              <a:gd name="connsiteX2" fmla="*/ 0 w 2197938"/>
              <a:gd name="connsiteY2" fmla="*/ 257442 h 257442"/>
              <a:gd name="connsiteX3" fmla="*/ 1 w 2197938"/>
              <a:gd name="connsiteY3" fmla="*/ 0 h 257442"/>
              <a:gd name="connsiteX0" fmla="*/ 2197938 w 2197938"/>
              <a:gd name="connsiteY0" fmla="*/ 0 h 257442"/>
              <a:gd name="connsiteX1" fmla="*/ 2143216 w 2197938"/>
              <a:gd name="connsiteY1" fmla="*/ 257442 h 257442"/>
              <a:gd name="connsiteX2" fmla="*/ 0 w 2197938"/>
              <a:gd name="connsiteY2" fmla="*/ 257442 h 257442"/>
              <a:gd name="connsiteX3" fmla="*/ 0 w 2197938"/>
              <a:gd name="connsiteY3" fmla="*/ 0 h 257442"/>
              <a:gd name="connsiteX0" fmla="*/ 2366252 w 2366252"/>
              <a:gd name="connsiteY0" fmla="*/ 0 h 257442"/>
              <a:gd name="connsiteX1" fmla="*/ 2143216 w 2366252"/>
              <a:gd name="connsiteY1" fmla="*/ 257442 h 257442"/>
              <a:gd name="connsiteX2" fmla="*/ 0 w 2366252"/>
              <a:gd name="connsiteY2" fmla="*/ 257442 h 257442"/>
              <a:gd name="connsiteX3" fmla="*/ 0 w 2366252"/>
              <a:gd name="connsiteY3" fmla="*/ 0 h 257442"/>
              <a:gd name="connsiteX0" fmla="*/ 2366252 w 2366252"/>
              <a:gd name="connsiteY0" fmla="*/ 0 h 257442"/>
              <a:gd name="connsiteX1" fmla="*/ 2311531 w 2366252"/>
              <a:gd name="connsiteY1" fmla="*/ 257442 h 257442"/>
              <a:gd name="connsiteX2" fmla="*/ 0 w 2366252"/>
              <a:gd name="connsiteY2" fmla="*/ 257442 h 257442"/>
              <a:gd name="connsiteX3" fmla="*/ 0 w 2366252"/>
              <a:gd name="connsiteY3" fmla="*/ 0 h 257442"/>
              <a:gd name="connsiteX0" fmla="*/ 2366252 w 2366252"/>
              <a:gd name="connsiteY0" fmla="*/ 0 h 257442"/>
              <a:gd name="connsiteX1" fmla="*/ 2311531 w 2366252"/>
              <a:gd name="connsiteY1" fmla="*/ 257442 h 257442"/>
              <a:gd name="connsiteX2" fmla="*/ 0 w 2366252"/>
              <a:gd name="connsiteY2" fmla="*/ 257442 h 257442"/>
              <a:gd name="connsiteX3" fmla="*/ 0 w 2366252"/>
              <a:gd name="connsiteY3" fmla="*/ 0 h 257442"/>
              <a:gd name="connsiteX0" fmla="*/ 2366252 w 2366252"/>
              <a:gd name="connsiteY0" fmla="*/ 0 h 257442"/>
              <a:gd name="connsiteX1" fmla="*/ 2311531 w 2366252"/>
              <a:gd name="connsiteY1" fmla="*/ 257442 h 257442"/>
              <a:gd name="connsiteX2" fmla="*/ 0 w 2366252"/>
              <a:gd name="connsiteY2" fmla="*/ 257442 h 257442"/>
              <a:gd name="connsiteX3" fmla="*/ 0 w 2366252"/>
              <a:gd name="connsiteY3" fmla="*/ 0 h 257442"/>
              <a:gd name="connsiteX0" fmla="*/ 2526553 w 2526553"/>
              <a:gd name="connsiteY0" fmla="*/ 0 h 257442"/>
              <a:gd name="connsiteX1" fmla="*/ 2311531 w 2526553"/>
              <a:gd name="connsiteY1" fmla="*/ 257442 h 257442"/>
              <a:gd name="connsiteX2" fmla="*/ 0 w 2526553"/>
              <a:gd name="connsiteY2" fmla="*/ 257442 h 257442"/>
              <a:gd name="connsiteX3" fmla="*/ 0 w 2526553"/>
              <a:gd name="connsiteY3" fmla="*/ 0 h 257442"/>
              <a:gd name="connsiteX0" fmla="*/ 2526553 w 2526553"/>
              <a:gd name="connsiteY0" fmla="*/ 0 h 257442"/>
              <a:gd name="connsiteX1" fmla="*/ 2471832 w 2526553"/>
              <a:gd name="connsiteY1" fmla="*/ 257442 h 257442"/>
              <a:gd name="connsiteX2" fmla="*/ 0 w 2526553"/>
              <a:gd name="connsiteY2" fmla="*/ 257442 h 257442"/>
              <a:gd name="connsiteX3" fmla="*/ 0 w 2526553"/>
              <a:gd name="connsiteY3" fmla="*/ 0 h 257442"/>
              <a:gd name="connsiteX0" fmla="*/ 2526553 w 2526553"/>
              <a:gd name="connsiteY0" fmla="*/ 0 h 257442"/>
              <a:gd name="connsiteX1" fmla="*/ 2471832 w 2526553"/>
              <a:gd name="connsiteY1" fmla="*/ 257442 h 257442"/>
              <a:gd name="connsiteX2" fmla="*/ 0 w 2526553"/>
              <a:gd name="connsiteY2" fmla="*/ 257442 h 257442"/>
              <a:gd name="connsiteX3" fmla="*/ 0 w 2526553"/>
              <a:gd name="connsiteY3" fmla="*/ 0 h 257442"/>
              <a:gd name="connsiteX0" fmla="*/ 2526553 w 2526553"/>
              <a:gd name="connsiteY0" fmla="*/ 0 h 257442"/>
              <a:gd name="connsiteX1" fmla="*/ 2471832 w 2526553"/>
              <a:gd name="connsiteY1" fmla="*/ 257442 h 257442"/>
              <a:gd name="connsiteX2" fmla="*/ 0 w 2526553"/>
              <a:gd name="connsiteY2" fmla="*/ 257442 h 257442"/>
              <a:gd name="connsiteX3" fmla="*/ 0 w 2526553"/>
              <a:gd name="connsiteY3" fmla="*/ 0 h 257442"/>
              <a:gd name="connsiteX0" fmla="*/ 2627542 w 2627542"/>
              <a:gd name="connsiteY0" fmla="*/ 0 h 257442"/>
              <a:gd name="connsiteX1" fmla="*/ 2471832 w 2627542"/>
              <a:gd name="connsiteY1" fmla="*/ 257442 h 257442"/>
              <a:gd name="connsiteX2" fmla="*/ 0 w 2627542"/>
              <a:gd name="connsiteY2" fmla="*/ 257442 h 257442"/>
              <a:gd name="connsiteX3" fmla="*/ 0 w 2627542"/>
              <a:gd name="connsiteY3" fmla="*/ 0 h 257442"/>
              <a:gd name="connsiteX0" fmla="*/ 2627542 w 2627542"/>
              <a:gd name="connsiteY0" fmla="*/ 0 h 257442"/>
              <a:gd name="connsiteX1" fmla="*/ 2572820 w 2627542"/>
              <a:gd name="connsiteY1" fmla="*/ 257442 h 257442"/>
              <a:gd name="connsiteX2" fmla="*/ 0 w 2627542"/>
              <a:gd name="connsiteY2" fmla="*/ 257442 h 257442"/>
              <a:gd name="connsiteX3" fmla="*/ 0 w 2627542"/>
              <a:gd name="connsiteY3" fmla="*/ 0 h 257442"/>
              <a:gd name="connsiteX0" fmla="*/ 2627543 w 2627543"/>
              <a:gd name="connsiteY0" fmla="*/ 0 h 257442"/>
              <a:gd name="connsiteX1" fmla="*/ 2572821 w 2627543"/>
              <a:gd name="connsiteY1" fmla="*/ 257442 h 257442"/>
              <a:gd name="connsiteX2" fmla="*/ 0 w 2627543"/>
              <a:gd name="connsiteY2" fmla="*/ 257442 h 257442"/>
              <a:gd name="connsiteX3" fmla="*/ 1 w 2627543"/>
              <a:gd name="connsiteY3" fmla="*/ 0 h 257442"/>
              <a:gd name="connsiteX0" fmla="*/ 2627543 w 2627543"/>
              <a:gd name="connsiteY0" fmla="*/ 0 h 257442"/>
              <a:gd name="connsiteX1" fmla="*/ 2572821 w 2627543"/>
              <a:gd name="connsiteY1" fmla="*/ 257442 h 257442"/>
              <a:gd name="connsiteX2" fmla="*/ 0 w 2627543"/>
              <a:gd name="connsiteY2" fmla="*/ 257442 h 257442"/>
              <a:gd name="connsiteX3" fmla="*/ 1 w 2627543"/>
              <a:gd name="connsiteY3" fmla="*/ 0 h 257442"/>
              <a:gd name="connsiteX0" fmla="*/ 2526554 w 2572821"/>
              <a:gd name="connsiteY0" fmla="*/ 0 h 257442"/>
              <a:gd name="connsiteX1" fmla="*/ 2572821 w 2572821"/>
              <a:gd name="connsiteY1" fmla="*/ 257442 h 257442"/>
              <a:gd name="connsiteX2" fmla="*/ 0 w 2572821"/>
              <a:gd name="connsiteY2" fmla="*/ 257442 h 257442"/>
              <a:gd name="connsiteX3" fmla="*/ 1 w 2572821"/>
              <a:gd name="connsiteY3" fmla="*/ 0 h 257442"/>
              <a:gd name="connsiteX0" fmla="*/ 2526554 w 2526554"/>
              <a:gd name="connsiteY0" fmla="*/ 0 h 257442"/>
              <a:gd name="connsiteX1" fmla="*/ 2471833 w 2526554"/>
              <a:gd name="connsiteY1" fmla="*/ 257442 h 257442"/>
              <a:gd name="connsiteX2" fmla="*/ 0 w 2526554"/>
              <a:gd name="connsiteY2" fmla="*/ 257442 h 257442"/>
              <a:gd name="connsiteX3" fmla="*/ 1 w 2526554"/>
              <a:gd name="connsiteY3" fmla="*/ 0 h 257442"/>
              <a:gd name="connsiteX0" fmla="*/ 2526553 w 2526553"/>
              <a:gd name="connsiteY0" fmla="*/ 0 h 257442"/>
              <a:gd name="connsiteX1" fmla="*/ 2471832 w 2526553"/>
              <a:gd name="connsiteY1" fmla="*/ 257442 h 257442"/>
              <a:gd name="connsiteX2" fmla="*/ 0 w 2526553"/>
              <a:gd name="connsiteY2" fmla="*/ 257442 h 257442"/>
              <a:gd name="connsiteX3" fmla="*/ 0 w 2526553"/>
              <a:gd name="connsiteY3" fmla="*/ 0 h 257442"/>
              <a:gd name="connsiteX0" fmla="*/ 2526553 w 2526553"/>
              <a:gd name="connsiteY0" fmla="*/ 0 h 257442"/>
              <a:gd name="connsiteX1" fmla="*/ 2471832 w 2526553"/>
              <a:gd name="connsiteY1" fmla="*/ 257442 h 257442"/>
              <a:gd name="connsiteX2" fmla="*/ 0 w 2526553"/>
              <a:gd name="connsiteY2" fmla="*/ 257442 h 257442"/>
              <a:gd name="connsiteX3" fmla="*/ 0 w 2526553"/>
              <a:gd name="connsiteY3" fmla="*/ 0 h 257442"/>
              <a:gd name="connsiteX0" fmla="*/ 2704486 w 2704486"/>
              <a:gd name="connsiteY0" fmla="*/ 0 h 257442"/>
              <a:gd name="connsiteX1" fmla="*/ 2471832 w 2704486"/>
              <a:gd name="connsiteY1" fmla="*/ 257442 h 257442"/>
              <a:gd name="connsiteX2" fmla="*/ 0 w 2704486"/>
              <a:gd name="connsiteY2" fmla="*/ 257442 h 257442"/>
              <a:gd name="connsiteX3" fmla="*/ 0 w 2704486"/>
              <a:gd name="connsiteY3" fmla="*/ 0 h 257442"/>
              <a:gd name="connsiteX0" fmla="*/ 2704486 w 2704486"/>
              <a:gd name="connsiteY0" fmla="*/ 0 h 257442"/>
              <a:gd name="connsiteX1" fmla="*/ 2649764 w 2704486"/>
              <a:gd name="connsiteY1" fmla="*/ 257442 h 257442"/>
              <a:gd name="connsiteX2" fmla="*/ 0 w 2704486"/>
              <a:gd name="connsiteY2" fmla="*/ 257442 h 257442"/>
              <a:gd name="connsiteX3" fmla="*/ 0 w 2704486"/>
              <a:gd name="connsiteY3" fmla="*/ 0 h 257442"/>
              <a:gd name="connsiteX0" fmla="*/ 2704487 w 2704487"/>
              <a:gd name="connsiteY0" fmla="*/ 0 h 257442"/>
              <a:gd name="connsiteX1" fmla="*/ 2649765 w 2704487"/>
              <a:gd name="connsiteY1" fmla="*/ 257442 h 257442"/>
              <a:gd name="connsiteX2" fmla="*/ 0 w 2704487"/>
              <a:gd name="connsiteY2" fmla="*/ 257442 h 257442"/>
              <a:gd name="connsiteX3" fmla="*/ 1 w 2704487"/>
              <a:gd name="connsiteY3" fmla="*/ 0 h 257442"/>
              <a:gd name="connsiteX0" fmla="*/ 2704487 w 2704487"/>
              <a:gd name="connsiteY0" fmla="*/ 0 h 257442"/>
              <a:gd name="connsiteX1" fmla="*/ 2649765 w 2704487"/>
              <a:gd name="connsiteY1" fmla="*/ 257442 h 257442"/>
              <a:gd name="connsiteX2" fmla="*/ 0 w 2704487"/>
              <a:gd name="connsiteY2" fmla="*/ 257442 h 257442"/>
              <a:gd name="connsiteX3" fmla="*/ 1 w 2704487"/>
              <a:gd name="connsiteY3" fmla="*/ 0 h 257442"/>
              <a:gd name="connsiteX0" fmla="*/ 2856772 w 2856772"/>
              <a:gd name="connsiteY0" fmla="*/ 0 h 257442"/>
              <a:gd name="connsiteX1" fmla="*/ 2649765 w 2856772"/>
              <a:gd name="connsiteY1" fmla="*/ 257442 h 257442"/>
              <a:gd name="connsiteX2" fmla="*/ 0 w 2856772"/>
              <a:gd name="connsiteY2" fmla="*/ 257442 h 257442"/>
              <a:gd name="connsiteX3" fmla="*/ 1 w 2856772"/>
              <a:gd name="connsiteY3" fmla="*/ 0 h 257442"/>
              <a:gd name="connsiteX0" fmla="*/ 2856772 w 2856772"/>
              <a:gd name="connsiteY0" fmla="*/ 0 h 257442"/>
              <a:gd name="connsiteX1" fmla="*/ 2802050 w 2856772"/>
              <a:gd name="connsiteY1" fmla="*/ 257442 h 257442"/>
              <a:gd name="connsiteX2" fmla="*/ 0 w 2856772"/>
              <a:gd name="connsiteY2" fmla="*/ 257442 h 257442"/>
              <a:gd name="connsiteX3" fmla="*/ 1 w 2856772"/>
              <a:gd name="connsiteY3" fmla="*/ 0 h 257442"/>
              <a:gd name="connsiteX0" fmla="*/ 2856772 w 2856772"/>
              <a:gd name="connsiteY0" fmla="*/ 0 h 257442"/>
              <a:gd name="connsiteX1" fmla="*/ 2802050 w 2856772"/>
              <a:gd name="connsiteY1" fmla="*/ 257442 h 257442"/>
              <a:gd name="connsiteX2" fmla="*/ 0 w 2856772"/>
              <a:gd name="connsiteY2" fmla="*/ 257442 h 257442"/>
              <a:gd name="connsiteX3" fmla="*/ 1 w 2856772"/>
              <a:gd name="connsiteY3" fmla="*/ 0 h 257442"/>
              <a:gd name="connsiteX0" fmla="*/ 2856772 w 2856772"/>
              <a:gd name="connsiteY0" fmla="*/ 0 h 257442"/>
              <a:gd name="connsiteX1" fmla="*/ 2802050 w 2856772"/>
              <a:gd name="connsiteY1" fmla="*/ 257442 h 257442"/>
              <a:gd name="connsiteX2" fmla="*/ 0 w 2856772"/>
              <a:gd name="connsiteY2" fmla="*/ 257442 h 257442"/>
              <a:gd name="connsiteX3" fmla="*/ 0 w 2856772"/>
              <a:gd name="connsiteY3" fmla="*/ 0 h 257442"/>
              <a:gd name="connsiteX0" fmla="*/ 2957761 w 2957761"/>
              <a:gd name="connsiteY0" fmla="*/ 0 h 257442"/>
              <a:gd name="connsiteX1" fmla="*/ 2802050 w 2957761"/>
              <a:gd name="connsiteY1" fmla="*/ 257442 h 257442"/>
              <a:gd name="connsiteX2" fmla="*/ 0 w 2957761"/>
              <a:gd name="connsiteY2" fmla="*/ 257442 h 257442"/>
              <a:gd name="connsiteX3" fmla="*/ 0 w 2957761"/>
              <a:gd name="connsiteY3" fmla="*/ 0 h 257442"/>
              <a:gd name="connsiteX0" fmla="*/ 2957761 w 2957761"/>
              <a:gd name="connsiteY0" fmla="*/ 0 h 257442"/>
              <a:gd name="connsiteX1" fmla="*/ 2903040 w 2957761"/>
              <a:gd name="connsiteY1" fmla="*/ 257442 h 257442"/>
              <a:gd name="connsiteX2" fmla="*/ 0 w 2957761"/>
              <a:gd name="connsiteY2" fmla="*/ 257442 h 257442"/>
              <a:gd name="connsiteX3" fmla="*/ 0 w 2957761"/>
              <a:gd name="connsiteY3" fmla="*/ 0 h 257442"/>
              <a:gd name="connsiteX0" fmla="*/ 2957761 w 2957761"/>
              <a:gd name="connsiteY0" fmla="*/ 0 h 257442"/>
              <a:gd name="connsiteX1" fmla="*/ 2903040 w 2957761"/>
              <a:gd name="connsiteY1" fmla="*/ 257442 h 257442"/>
              <a:gd name="connsiteX2" fmla="*/ 0 w 2957761"/>
              <a:gd name="connsiteY2" fmla="*/ 257442 h 257442"/>
              <a:gd name="connsiteX3" fmla="*/ 0 w 2957761"/>
              <a:gd name="connsiteY3" fmla="*/ 0 h 257442"/>
              <a:gd name="connsiteX0" fmla="*/ 2957761 w 2957761"/>
              <a:gd name="connsiteY0" fmla="*/ 0 h 257442"/>
              <a:gd name="connsiteX1" fmla="*/ 2903040 w 2957761"/>
              <a:gd name="connsiteY1" fmla="*/ 257442 h 257442"/>
              <a:gd name="connsiteX2" fmla="*/ 0 w 2957761"/>
              <a:gd name="connsiteY2" fmla="*/ 257442 h 257442"/>
              <a:gd name="connsiteX3" fmla="*/ 0 w 2957761"/>
              <a:gd name="connsiteY3" fmla="*/ 0 h 257442"/>
              <a:gd name="connsiteX0" fmla="*/ 3058750 w 3058750"/>
              <a:gd name="connsiteY0" fmla="*/ 0 h 257442"/>
              <a:gd name="connsiteX1" fmla="*/ 2903040 w 3058750"/>
              <a:gd name="connsiteY1" fmla="*/ 257442 h 257442"/>
              <a:gd name="connsiteX2" fmla="*/ 0 w 3058750"/>
              <a:gd name="connsiteY2" fmla="*/ 257442 h 257442"/>
              <a:gd name="connsiteX3" fmla="*/ 0 w 3058750"/>
              <a:gd name="connsiteY3" fmla="*/ 0 h 257442"/>
              <a:gd name="connsiteX0" fmla="*/ 3058750 w 3058750"/>
              <a:gd name="connsiteY0" fmla="*/ 0 h 257442"/>
              <a:gd name="connsiteX1" fmla="*/ 3004028 w 3058750"/>
              <a:gd name="connsiteY1" fmla="*/ 257442 h 257442"/>
              <a:gd name="connsiteX2" fmla="*/ 0 w 3058750"/>
              <a:gd name="connsiteY2" fmla="*/ 257442 h 257442"/>
              <a:gd name="connsiteX3" fmla="*/ 0 w 3058750"/>
              <a:gd name="connsiteY3" fmla="*/ 0 h 257442"/>
              <a:gd name="connsiteX0" fmla="*/ 3058751 w 3058751"/>
              <a:gd name="connsiteY0" fmla="*/ 0 h 257442"/>
              <a:gd name="connsiteX1" fmla="*/ 3004029 w 3058751"/>
              <a:gd name="connsiteY1" fmla="*/ 257442 h 257442"/>
              <a:gd name="connsiteX2" fmla="*/ 0 w 3058751"/>
              <a:gd name="connsiteY2" fmla="*/ 257442 h 257442"/>
              <a:gd name="connsiteX3" fmla="*/ 1 w 3058751"/>
              <a:gd name="connsiteY3" fmla="*/ 0 h 257442"/>
              <a:gd name="connsiteX0" fmla="*/ 3058751 w 3058751"/>
              <a:gd name="connsiteY0" fmla="*/ 0 h 257442"/>
              <a:gd name="connsiteX1" fmla="*/ 3004029 w 3058751"/>
              <a:gd name="connsiteY1" fmla="*/ 257442 h 257442"/>
              <a:gd name="connsiteX2" fmla="*/ 0 w 3058751"/>
              <a:gd name="connsiteY2" fmla="*/ 257442 h 257442"/>
              <a:gd name="connsiteX3" fmla="*/ 1 w 3058751"/>
              <a:gd name="connsiteY3" fmla="*/ 0 h 257442"/>
              <a:gd name="connsiteX0" fmla="*/ 3219051 w 3219051"/>
              <a:gd name="connsiteY0" fmla="*/ 0 h 257442"/>
              <a:gd name="connsiteX1" fmla="*/ 3004029 w 3219051"/>
              <a:gd name="connsiteY1" fmla="*/ 257442 h 257442"/>
              <a:gd name="connsiteX2" fmla="*/ 0 w 3219051"/>
              <a:gd name="connsiteY2" fmla="*/ 257442 h 257442"/>
              <a:gd name="connsiteX3" fmla="*/ 1 w 3219051"/>
              <a:gd name="connsiteY3" fmla="*/ 0 h 257442"/>
              <a:gd name="connsiteX0" fmla="*/ 3219051 w 3219051"/>
              <a:gd name="connsiteY0" fmla="*/ 0 h 257442"/>
              <a:gd name="connsiteX1" fmla="*/ 3164330 w 3219051"/>
              <a:gd name="connsiteY1" fmla="*/ 257442 h 257442"/>
              <a:gd name="connsiteX2" fmla="*/ 0 w 3219051"/>
              <a:gd name="connsiteY2" fmla="*/ 257442 h 257442"/>
              <a:gd name="connsiteX3" fmla="*/ 1 w 3219051"/>
              <a:gd name="connsiteY3" fmla="*/ 0 h 257442"/>
              <a:gd name="connsiteX0" fmla="*/ 3219050 w 3219050"/>
              <a:gd name="connsiteY0" fmla="*/ 0 h 257442"/>
              <a:gd name="connsiteX1" fmla="*/ 3164329 w 3219050"/>
              <a:gd name="connsiteY1" fmla="*/ 257442 h 257442"/>
              <a:gd name="connsiteX2" fmla="*/ 0 w 3219050"/>
              <a:gd name="connsiteY2" fmla="*/ 257442 h 257442"/>
              <a:gd name="connsiteX3" fmla="*/ 0 w 3219050"/>
              <a:gd name="connsiteY3" fmla="*/ 0 h 257442"/>
              <a:gd name="connsiteX0" fmla="*/ 3219051 w 3219051"/>
              <a:gd name="connsiteY0" fmla="*/ 0 h 257442"/>
              <a:gd name="connsiteX1" fmla="*/ 3164330 w 3219051"/>
              <a:gd name="connsiteY1" fmla="*/ 257442 h 257442"/>
              <a:gd name="connsiteX2" fmla="*/ 1 w 3219051"/>
              <a:gd name="connsiteY2" fmla="*/ 257442 h 257442"/>
              <a:gd name="connsiteX3" fmla="*/ 0 w 3219051"/>
              <a:gd name="connsiteY3" fmla="*/ 0 h 257442"/>
              <a:gd name="connsiteX0" fmla="*/ 3371337 w 3371337"/>
              <a:gd name="connsiteY0" fmla="*/ 0 h 257442"/>
              <a:gd name="connsiteX1" fmla="*/ 3164330 w 3371337"/>
              <a:gd name="connsiteY1" fmla="*/ 257442 h 257442"/>
              <a:gd name="connsiteX2" fmla="*/ 1 w 3371337"/>
              <a:gd name="connsiteY2" fmla="*/ 257442 h 257442"/>
              <a:gd name="connsiteX3" fmla="*/ 0 w 3371337"/>
              <a:gd name="connsiteY3" fmla="*/ 0 h 257442"/>
              <a:gd name="connsiteX0" fmla="*/ 3371337 w 3371337"/>
              <a:gd name="connsiteY0" fmla="*/ 0 h 257442"/>
              <a:gd name="connsiteX1" fmla="*/ 3316616 w 3371337"/>
              <a:gd name="connsiteY1" fmla="*/ 257442 h 257442"/>
              <a:gd name="connsiteX2" fmla="*/ 1 w 3371337"/>
              <a:gd name="connsiteY2" fmla="*/ 257442 h 257442"/>
              <a:gd name="connsiteX3" fmla="*/ 0 w 3371337"/>
              <a:gd name="connsiteY3" fmla="*/ 0 h 257442"/>
              <a:gd name="connsiteX0" fmla="*/ 3371337 w 3371337"/>
              <a:gd name="connsiteY0" fmla="*/ 0 h 257442"/>
              <a:gd name="connsiteX1" fmla="*/ 3316616 w 3371337"/>
              <a:gd name="connsiteY1" fmla="*/ 257442 h 257442"/>
              <a:gd name="connsiteX2" fmla="*/ 1 w 3371337"/>
              <a:gd name="connsiteY2" fmla="*/ 257442 h 257442"/>
              <a:gd name="connsiteX3" fmla="*/ 0 w 3371337"/>
              <a:gd name="connsiteY3" fmla="*/ 0 h 257442"/>
              <a:gd name="connsiteX0" fmla="*/ 3371336 w 3371336"/>
              <a:gd name="connsiteY0" fmla="*/ 0 h 257442"/>
              <a:gd name="connsiteX1" fmla="*/ 3316615 w 3371336"/>
              <a:gd name="connsiteY1" fmla="*/ 257442 h 257442"/>
              <a:gd name="connsiteX2" fmla="*/ 0 w 3371336"/>
              <a:gd name="connsiteY2" fmla="*/ 257442 h 257442"/>
              <a:gd name="connsiteX3" fmla="*/ 0 w 3371336"/>
              <a:gd name="connsiteY3" fmla="*/ 0 h 257442"/>
              <a:gd name="connsiteX0" fmla="*/ 3539649 w 3539649"/>
              <a:gd name="connsiteY0" fmla="*/ 0 h 257442"/>
              <a:gd name="connsiteX1" fmla="*/ 3316615 w 3539649"/>
              <a:gd name="connsiteY1" fmla="*/ 257442 h 257442"/>
              <a:gd name="connsiteX2" fmla="*/ 0 w 3539649"/>
              <a:gd name="connsiteY2" fmla="*/ 257442 h 257442"/>
              <a:gd name="connsiteX3" fmla="*/ 0 w 3539649"/>
              <a:gd name="connsiteY3" fmla="*/ 0 h 257442"/>
              <a:gd name="connsiteX0" fmla="*/ 3539649 w 3539649"/>
              <a:gd name="connsiteY0" fmla="*/ 0 h 257442"/>
              <a:gd name="connsiteX1" fmla="*/ 3484928 w 3539649"/>
              <a:gd name="connsiteY1" fmla="*/ 257442 h 257442"/>
              <a:gd name="connsiteX2" fmla="*/ 0 w 3539649"/>
              <a:gd name="connsiteY2" fmla="*/ 257442 h 257442"/>
              <a:gd name="connsiteX3" fmla="*/ 0 w 3539649"/>
              <a:gd name="connsiteY3" fmla="*/ 0 h 257442"/>
              <a:gd name="connsiteX0" fmla="*/ 3539650 w 3539650"/>
              <a:gd name="connsiteY0" fmla="*/ 0 h 257442"/>
              <a:gd name="connsiteX1" fmla="*/ 3484929 w 3539650"/>
              <a:gd name="connsiteY1" fmla="*/ 257442 h 257442"/>
              <a:gd name="connsiteX2" fmla="*/ 0 w 3539650"/>
              <a:gd name="connsiteY2" fmla="*/ 257442 h 257442"/>
              <a:gd name="connsiteX3" fmla="*/ 1 w 3539650"/>
              <a:gd name="connsiteY3" fmla="*/ 0 h 257442"/>
              <a:gd name="connsiteX0" fmla="*/ 3539650 w 3539650"/>
              <a:gd name="connsiteY0" fmla="*/ 0 h 257442"/>
              <a:gd name="connsiteX1" fmla="*/ 3484929 w 3539650"/>
              <a:gd name="connsiteY1" fmla="*/ 257442 h 257442"/>
              <a:gd name="connsiteX2" fmla="*/ 0 w 3539650"/>
              <a:gd name="connsiteY2" fmla="*/ 257442 h 257442"/>
              <a:gd name="connsiteX3" fmla="*/ 0 w 3539650"/>
              <a:gd name="connsiteY3" fmla="*/ 0 h 257442"/>
              <a:gd name="connsiteX0" fmla="*/ 3707966 w 3707966"/>
              <a:gd name="connsiteY0" fmla="*/ 0 h 257442"/>
              <a:gd name="connsiteX1" fmla="*/ 3484929 w 3707966"/>
              <a:gd name="connsiteY1" fmla="*/ 257442 h 257442"/>
              <a:gd name="connsiteX2" fmla="*/ 0 w 3707966"/>
              <a:gd name="connsiteY2" fmla="*/ 257442 h 257442"/>
              <a:gd name="connsiteX3" fmla="*/ 0 w 3707966"/>
              <a:gd name="connsiteY3" fmla="*/ 0 h 257442"/>
              <a:gd name="connsiteX0" fmla="*/ 3707966 w 3707966"/>
              <a:gd name="connsiteY0" fmla="*/ 0 h 257442"/>
              <a:gd name="connsiteX1" fmla="*/ 3653245 w 3707966"/>
              <a:gd name="connsiteY1" fmla="*/ 257442 h 257442"/>
              <a:gd name="connsiteX2" fmla="*/ 0 w 3707966"/>
              <a:gd name="connsiteY2" fmla="*/ 257442 h 257442"/>
              <a:gd name="connsiteX3" fmla="*/ 0 w 3707966"/>
              <a:gd name="connsiteY3" fmla="*/ 0 h 257442"/>
              <a:gd name="connsiteX0" fmla="*/ 3707966 w 3707966"/>
              <a:gd name="connsiteY0" fmla="*/ 0 h 257442"/>
              <a:gd name="connsiteX1" fmla="*/ 3653245 w 3707966"/>
              <a:gd name="connsiteY1" fmla="*/ 257442 h 257442"/>
              <a:gd name="connsiteX2" fmla="*/ 0 w 3707966"/>
              <a:gd name="connsiteY2" fmla="*/ 257442 h 257442"/>
              <a:gd name="connsiteX3" fmla="*/ 0 w 3707966"/>
              <a:gd name="connsiteY3" fmla="*/ 0 h 257442"/>
              <a:gd name="connsiteX0" fmla="*/ 3707966 w 3707966"/>
              <a:gd name="connsiteY0" fmla="*/ 0 h 257442"/>
              <a:gd name="connsiteX1" fmla="*/ 3653245 w 3707966"/>
              <a:gd name="connsiteY1" fmla="*/ 257442 h 257442"/>
              <a:gd name="connsiteX2" fmla="*/ 0 w 3707966"/>
              <a:gd name="connsiteY2" fmla="*/ 257442 h 257442"/>
              <a:gd name="connsiteX3" fmla="*/ 0 w 3707966"/>
              <a:gd name="connsiteY3" fmla="*/ 0 h 257442"/>
              <a:gd name="connsiteX0" fmla="*/ 3868266 w 3868266"/>
              <a:gd name="connsiteY0" fmla="*/ 0 h 257442"/>
              <a:gd name="connsiteX1" fmla="*/ 3653245 w 3868266"/>
              <a:gd name="connsiteY1" fmla="*/ 257442 h 257442"/>
              <a:gd name="connsiteX2" fmla="*/ 0 w 3868266"/>
              <a:gd name="connsiteY2" fmla="*/ 257442 h 257442"/>
              <a:gd name="connsiteX3" fmla="*/ 0 w 3868266"/>
              <a:gd name="connsiteY3" fmla="*/ 0 h 257442"/>
              <a:gd name="connsiteX0" fmla="*/ 3868266 w 3868266"/>
              <a:gd name="connsiteY0" fmla="*/ 0 h 257442"/>
              <a:gd name="connsiteX1" fmla="*/ 3813545 w 3868266"/>
              <a:gd name="connsiteY1" fmla="*/ 257442 h 257442"/>
              <a:gd name="connsiteX2" fmla="*/ 0 w 3868266"/>
              <a:gd name="connsiteY2" fmla="*/ 257442 h 257442"/>
              <a:gd name="connsiteX3" fmla="*/ 0 w 3868266"/>
              <a:gd name="connsiteY3" fmla="*/ 0 h 257442"/>
              <a:gd name="connsiteX0" fmla="*/ 3868266 w 3868266"/>
              <a:gd name="connsiteY0" fmla="*/ 0 h 257442"/>
              <a:gd name="connsiteX1" fmla="*/ 3813545 w 3868266"/>
              <a:gd name="connsiteY1" fmla="*/ 257442 h 257442"/>
              <a:gd name="connsiteX2" fmla="*/ 0 w 3868266"/>
              <a:gd name="connsiteY2" fmla="*/ 257442 h 257442"/>
              <a:gd name="connsiteX3" fmla="*/ 0 w 3868266"/>
              <a:gd name="connsiteY3" fmla="*/ 0 h 257442"/>
              <a:gd name="connsiteX0" fmla="*/ 3868266 w 3868266"/>
              <a:gd name="connsiteY0" fmla="*/ 0 h 257442"/>
              <a:gd name="connsiteX1" fmla="*/ 3813545 w 3868266"/>
              <a:gd name="connsiteY1" fmla="*/ 257442 h 257442"/>
              <a:gd name="connsiteX2" fmla="*/ 0 w 3868266"/>
              <a:gd name="connsiteY2" fmla="*/ 257442 h 257442"/>
              <a:gd name="connsiteX3" fmla="*/ 0 w 3868266"/>
              <a:gd name="connsiteY3" fmla="*/ 0 h 257442"/>
              <a:gd name="connsiteX0" fmla="*/ 4036581 w 4036581"/>
              <a:gd name="connsiteY0" fmla="*/ 0 h 257442"/>
              <a:gd name="connsiteX1" fmla="*/ 3813545 w 4036581"/>
              <a:gd name="connsiteY1" fmla="*/ 257442 h 257442"/>
              <a:gd name="connsiteX2" fmla="*/ 0 w 4036581"/>
              <a:gd name="connsiteY2" fmla="*/ 257442 h 257442"/>
              <a:gd name="connsiteX3" fmla="*/ 0 w 4036581"/>
              <a:gd name="connsiteY3" fmla="*/ 0 h 257442"/>
              <a:gd name="connsiteX0" fmla="*/ 4036581 w 4036581"/>
              <a:gd name="connsiteY0" fmla="*/ 0 h 257442"/>
              <a:gd name="connsiteX1" fmla="*/ 3981860 w 4036581"/>
              <a:gd name="connsiteY1" fmla="*/ 257442 h 257442"/>
              <a:gd name="connsiteX2" fmla="*/ 0 w 4036581"/>
              <a:gd name="connsiteY2" fmla="*/ 257442 h 257442"/>
              <a:gd name="connsiteX3" fmla="*/ 0 w 4036581"/>
              <a:gd name="connsiteY3" fmla="*/ 0 h 257442"/>
              <a:gd name="connsiteX0" fmla="*/ 4036581 w 4036581"/>
              <a:gd name="connsiteY0" fmla="*/ 0 h 257442"/>
              <a:gd name="connsiteX1" fmla="*/ 3981860 w 4036581"/>
              <a:gd name="connsiteY1" fmla="*/ 257442 h 257442"/>
              <a:gd name="connsiteX2" fmla="*/ 0 w 4036581"/>
              <a:gd name="connsiteY2" fmla="*/ 257442 h 257442"/>
              <a:gd name="connsiteX3" fmla="*/ 0 w 4036581"/>
              <a:gd name="connsiteY3" fmla="*/ 0 h 257442"/>
              <a:gd name="connsiteX0" fmla="*/ 4036581 w 4036581"/>
              <a:gd name="connsiteY0" fmla="*/ 0 h 257442"/>
              <a:gd name="connsiteX1" fmla="*/ 3981860 w 4036581"/>
              <a:gd name="connsiteY1" fmla="*/ 257442 h 257442"/>
              <a:gd name="connsiteX2" fmla="*/ 0 w 4036581"/>
              <a:gd name="connsiteY2" fmla="*/ 257442 h 257442"/>
              <a:gd name="connsiteX3" fmla="*/ 0 w 4036581"/>
              <a:gd name="connsiteY3" fmla="*/ 0 h 257442"/>
              <a:gd name="connsiteX0" fmla="*/ 4188867 w 4188867"/>
              <a:gd name="connsiteY0" fmla="*/ 0 h 257442"/>
              <a:gd name="connsiteX1" fmla="*/ 3981860 w 4188867"/>
              <a:gd name="connsiteY1" fmla="*/ 257442 h 257442"/>
              <a:gd name="connsiteX2" fmla="*/ 0 w 4188867"/>
              <a:gd name="connsiteY2" fmla="*/ 257442 h 257442"/>
              <a:gd name="connsiteX3" fmla="*/ 0 w 4188867"/>
              <a:gd name="connsiteY3" fmla="*/ 0 h 257442"/>
              <a:gd name="connsiteX0" fmla="*/ 4188867 w 4188867"/>
              <a:gd name="connsiteY0" fmla="*/ 0 h 257442"/>
              <a:gd name="connsiteX1" fmla="*/ 4134146 w 4188867"/>
              <a:gd name="connsiteY1" fmla="*/ 257442 h 257442"/>
              <a:gd name="connsiteX2" fmla="*/ 0 w 4188867"/>
              <a:gd name="connsiteY2" fmla="*/ 257442 h 257442"/>
              <a:gd name="connsiteX3" fmla="*/ 0 w 4188867"/>
              <a:gd name="connsiteY3" fmla="*/ 0 h 257442"/>
              <a:gd name="connsiteX0" fmla="*/ 4188867 w 4188867"/>
              <a:gd name="connsiteY0" fmla="*/ 0 h 257442"/>
              <a:gd name="connsiteX1" fmla="*/ 4134146 w 4188867"/>
              <a:gd name="connsiteY1" fmla="*/ 257442 h 257442"/>
              <a:gd name="connsiteX2" fmla="*/ 0 w 4188867"/>
              <a:gd name="connsiteY2" fmla="*/ 257442 h 257442"/>
              <a:gd name="connsiteX3" fmla="*/ 0 w 4188867"/>
              <a:gd name="connsiteY3" fmla="*/ 0 h 257442"/>
              <a:gd name="connsiteX0" fmla="*/ 4188867 w 4188867"/>
              <a:gd name="connsiteY0" fmla="*/ 0 h 257442"/>
              <a:gd name="connsiteX1" fmla="*/ 4134146 w 4188867"/>
              <a:gd name="connsiteY1" fmla="*/ 257442 h 257442"/>
              <a:gd name="connsiteX2" fmla="*/ 0 w 4188867"/>
              <a:gd name="connsiteY2" fmla="*/ 257442 h 257442"/>
              <a:gd name="connsiteX3" fmla="*/ 0 w 4188867"/>
              <a:gd name="connsiteY3" fmla="*/ 0 h 257442"/>
              <a:gd name="connsiteX0" fmla="*/ 4289856 w 4289856"/>
              <a:gd name="connsiteY0" fmla="*/ 0 h 257442"/>
              <a:gd name="connsiteX1" fmla="*/ 4134146 w 4289856"/>
              <a:gd name="connsiteY1" fmla="*/ 257442 h 257442"/>
              <a:gd name="connsiteX2" fmla="*/ 0 w 4289856"/>
              <a:gd name="connsiteY2" fmla="*/ 257442 h 257442"/>
              <a:gd name="connsiteX3" fmla="*/ 0 w 4289856"/>
              <a:gd name="connsiteY3" fmla="*/ 0 h 257442"/>
              <a:gd name="connsiteX0" fmla="*/ 4289856 w 4289856"/>
              <a:gd name="connsiteY0" fmla="*/ 0 h 257442"/>
              <a:gd name="connsiteX1" fmla="*/ 4235134 w 4289856"/>
              <a:gd name="connsiteY1" fmla="*/ 257442 h 257442"/>
              <a:gd name="connsiteX2" fmla="*/ 0 w 4289856"/>
              <a:gd name="connsiteY2" fmla="*/ 257442 h 257442"/>
              <a:gd name="connsiteX3" fmla="*/ 0 w 4289856"/>
              <a:gd name="connsiteY3" fmla="*/ 0 h 257442"/>
              <a:gd name="connsiteX0" fmla="*/ 4289857 w 4289857"/>
              <a:gd name="connsiteY0" fmla="*/ 0 h 257442"/>
              <a:gd name="connsiteX1" fmla="*/ 4235135 w 4289857"/>
              <a:gd name="connsiteY1" fmla="*/ 257442 h 257442"/>
              <a:gd name="connsiteX2" fmla="*/ 0 w 4289857"/>
              <a:gd name="connsiteY2" fmla="*/ 257442 h 257442"/>
              <a:gd name="connsiteX3" fmla="*/ 1 w 4289857"/>
              <a:gd name="connsiteY3" fmla="*/ 0 h 257442"/>
              <a:gd name="connsiteX0" fmla="*/ 4289857 w 4289857"/>
              <a:gd name="connsiteY0" fmla="*/ 0 h 257442"/>
              <a:gd name="connsiteX1" fmla="*/ 4235135 w 4289857"/>
              <a:gd name="connsiteY1" fmla="*/ 257442 h 257442"/>
              <a:gd name="connsiteX2" fmla="*/ 0 w 4289857"/>
              <a:gd name="connsiteY2" fmla="*/ 257442 h 257442"/>
              <a:gd name="connsiteX3" fmla="*/ 1 w 4289857"/>
              <a:gd name="connsiteY3" fmla="*/ 0 h 257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9857" h="257442">
                <a:moveTo>
                  <a:pt x="4289857" y="0"/>
                </a:moveTo>
                <a:lnTo>
                  <a:pt x="4235135" y="257442"/>
                </a:lnTo>
                <a:lnTo>
                  <a:pt x="0" y="257442"/>
                </a:lnTo>
                <a:lnTo>
                  <a:pt x="1" y="0"/>
                </a:lnTo>
                <a:close/>
              </a:path>
            </a:pathLst>
          </a:custGeom>
          <a:solidFill>
            <a:srgbClr val="5C5C5C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it-IT" sz="1600" dirty="0">
              <a:solidFill>
                <a:schemeClr val="tx1"/>
              </a:solidFill>
            </a:endParaRPr>
          </a:p>
        </p:txBody>
      </p:sp>
      <p:sp>
        <p:nvSpPr>
          <p:cNvPr id="120" name="btfpRunningAgenda2LevelTextLeft587740">
            <a:extLst>
              <a:ext uri="{FF2B5EF4-FFF2-40B4-BE49-F238E27FC236}">
                <a16:creationId xmlns:a16="http://schemas.microsoft.com/office/drawing/2014/main" id="{46360342-518C-417C-9DE3-BD5985C4641F}"/>
              </a:ext>
            </a:extLst>
          </p:cNvPr>
          <p:cNvSpPr txBox="1"/>
          <p:nvPr/>
        </p:nvSpPr>
        <p:spPr bwMode="gray">
          <a:xfrm>
            <a:off x="0" y="944429"/>
            <a:ext cx="6897915" cy="257442"/>
          </a:xfrm>
          <a:prstGeom prst="rect">
            <a:avLst/>
          </a:prstGeom>
          <a:noFill/>
        </p:spPr>
        <p:txBody>
          <a:bodyPr vert="horz" wrap="none" lIns="360363" tIns="36036" rIns="360363" bIns="36036" rtlCol="0" anchor="t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it-IT" sz="1200" b="1" cap="all" spc="450" dirty="0">
                <a:solidFill>
                  <a:srgbClr val="FFFFFF"/>
                </a:solidFill>
              </a:rPr>
              <a:t>Offerta formativa degli atenei del Gruppo</a:t>
            </a:r>
          </a:p>
        </p:txBody>
      </p:sp>
      <p:sp>
        <p:nvSpPr>
          <p:cNvPr id="187" name="object 5">
            <a:extLst>
              <a:ext uri="{FF2B5EF4-FFF2-40B4-BE49-F238E27FC236}">
                <a16:creationId xmlns:a16="http://schemas.microsoft.com/office/drawing/2014/main" id="{C3AAA68A-0AF3-4EBF-A26E-53A91743BADC}"/>
              </a:ext>
            </a:extLst>
          </p:cNvPr>
          <p:cNvSpPr txBox="1"/>
          <p:nvPr/>
        </p:nvSpPr>
        <p:spPr>
          <a:xfrm>
            <a:off x="9090329" y="57296"/>
            <a:ext cx="2381006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0" indent="0">
              <a:lnSpc>
                <a:spcPct val="100000"/>
              </a:lnSpc>
              <a:spcBef>
                <a:spcPts val="100"/>
              </a:spcBef>
              <a:buNone/>
            </a:pPr>
            <a:r>
              <a:rPr sz="800" b="1" i="1" spc="-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TTAMENTE </a:t>
            </a:r>
            <a:r>
              <a:rPr sz="8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O E</a:t>
            </a:r>
            <a:r>
              <a:rPr sz="800" b="1" i="1" spc="-4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800" b="1" i="1" spc="-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ZIALE</a:t>
            </a:r>
            <a:endParaRPr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8" name="Gruppo 187">
            <a:extLst>
              <a:ext uri="{FF2B5EF4-FFF2-40B4-BE49-F238E27FC236}">
                <a16:creationId xmlns:a16="http://schemas.microsoft.com/office/drawing/2014/main" id="{9B213297-C707-44C8-8C5D-751FE365E1BD}"/>
              </a:ext>
            </a:extLst>
          </p:cNvPr>
          <p:cNvGrpSpPr/>
          <p:nvPr/>
        </p:nvGrpSpPr>
        <p:grpSpPr>
          <a:xfrm>
            <a:off x="1542930" y="3005707"/>
            <a:ext cx="789833" cy="789833"/>
            <a:chOff x="838390" y="1675917"/>
            <a:chExt cx="789833" cy="789833"/>
          </a:xfrm>
        </p:grpSpPr>
        <p:sp>
          <p:nvSpPr>
            <p:cNvPr id="190" name="Ovale 189">
              <a:extLst>
                <a:ext uri="{FF2B5EF4-FFF2-40B4-BE49-F238E27FC236}">
                  <a16:creationId xmlns:a16="http://schemas.microsoft.com/office/drawing/2014/main" id="{3D82AD96-D8EE-42E4-982A-9BC856DDAFB9}"/>
                </a:ext>
              </a:extLst>
            </p:cNvPr>
            <p:cNvSpPr/>
            <p:nvPr/>
          </p:nvSpPr>
          <p:spPr>
            <a:xfrm>
              <a:off x="838390" y="1675917"/>
              <a:ext cx="789833" cy="789833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25400" cap="flat" cmpd="sng" algn="ctr">
              <a:noFill/>
              <a:prstDash val="solid"/>
              <a:miter lim="800000"/>
            </a:ln>
            <a:effectLst>
              <a:outerShdw blurRad="127000" dist="25400" dir="5400000" algn="ctr" rotWithShape="0">
                <a:schemeClr val="tx1">
                  <a:alpha val="20000"/>
                </a:schemeClr>
              </a:outerShdw>
            </a:effectLst>
          </p:spPr>
          <p:txBody>
            <a:bodyPr vert="horz" lIns="0" tIns="0" rIns="0" bIns="0" rtlCol="0" anchor="ctr" anchorCtr="0">
              <a:noAutofit/>
            </a:bodyPr>
            <a:lstStyle/>
            <a:p>
              <a:pPr marL="0" indent="0" defTabSz="914400">
                <a:lnSpc>
                  <a:spcPct val="90000"/>
                </a:lnSpc>
                <a:spcBef>
                  <a:spcPts val="600"/>
                </a:spcBef>
                <a:buNone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GT Walsheim Pro O" pitchFamily="2" charset="77"/>
                <a:cs typeface="Arial"/>
              </a:endParaRPr>
            </a:p>
          </p:txBody>
        </p:sp>
        <p:pic>
          <p:nvPicPr>
            <p:cNvPr id="191" name="Elemento grafico 20">
              <a:extLst>
                <a:ext uri="{FF2B5EF4-FFF2-40B4-BE49-F238E27FC236}">
                  <a16:creationId xmlns:a16="http://schemas.microsoft.com/office/drawing/2014/main" id="{E953FC84-9BFD-4925-9E1F-9ACD8C6F55C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73496" y="1849089"/>
              <a:ext cx="501940" cy="397297"/>
            </a:xfrm>
            <a:prstGeom prst="rect">
              <a:avLst/>
            </a:prstGeom>
          </p:spPr>
        </p:pic>
      </p:grpSp>
      <p:sp>
        <p:nvSpPr>
          <p:cNvPr id="2" name="Ovale 1">
            <a:extLst>
              <a:ext uri="{FF2B5EF4-FFF2-40B4-BE49-F238E27FC236}">
                <a16:creationId xmlns:a16="http://schemas.microsoft.com/office/drawing/2014/main" id="{FBA6AAB0-4A60-4B5E-8BF9-E56133227923}"/>
              </a:ext>
            </a:extLst>
          </p:cNvPr>
          <p:cNvSpPr/>
          <p:nvPr/>
        </p:nvSpPr>
        <p:spPr>
          <a:xfrm>
            <a:off x="975609" y="2424130"/>
            <a:ext cx="1906793" cy="1906793"/>
          </a:xfrm>
          <a:prstGeom prst="ellipse">
            <a:avLst/>
          </a:prstGeom>
          <a:noFill/>
          <a:ln w="12700">
            <a:solidFill>
              <a:srgbClr val="A5202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it-IT"/>
          </a:p>
        </p:txBody>
      </p:sp>
      <p:sp>
        <p:nvSpPr>
          <p:cNvPr id="194" name="Ovale 193">
            <a:extLst>
              <a:ext uri="{FF2B5EF4-FFF2-40B4-BE49-F238E27FC236}">
                <a16:creationId xmlns:a16="http://schemas.microsoft.com/office/drawing/2014/main" id="{46BEDFC9-2EAB-4C13-8497-646DCFB0973F}"/>
              </a:ext>
            </a:extLst>
          </p:cNvPr>
          <p:cNvSpPr/>
          <p:nvPr/>
        </p:nvSpPr>
        <p:spPr>
          <a:xfrm>
            <a:off x="435772" y="1864540"/>
            <a:ext cx="3015421" cy="3015421"/>
          </a:xfrm>
          <a:prstGeom prst="ellipse">
            <a:avLst/>
          </a:prstGeom>
          <a:noFill/>
          <a:ln w="12700">
            <a:solidFill>
              <a:srgbClr val="A5202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it-IT"/>
          </a:p>
        </p:txBody>
      </p:sp>
      <p:sp>
        <p:nvSpPr>
          <p:cNvPr id="153" name="Rectangle 168">
            <a:extLst>
              <a:ext uri="{FF2B5EF4-FFF2-40B4-BE49-F238E27FC236}">
                <a16:creationId xmlns:a16="http://schemas.microsoft.com/office/drawing/2014/main" id="{89A2E5C0-8A1B-4AB1-9A50-D5C03F352FE8}"/>
              </a:ext>
            </a:extLst>
          </p:cNvPr>
          <p:cNvSpPr/>
          <p:nvPr/>
        </p:nvSpPr>
        <p:spPr>
          <a:xfrm>
            <a:off x="406656" y="1923588"/>
            <a:ext cx="575432" cy="31292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algn="r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urea triennale</a:t>
            </a:r>
          </a:p>
        </p:txBody>
      </p:sp>
      <p:sp>
        <p:nvSpPr>
          <p:cNvPr id="335" name="Ovale 334">
            <a:extLst>
              <a:ext uri="{FF2B5EF4-FFF2-40B4-BE49-F238E27FC236}">
                <a16:creationId xmlns:a16="http://schemas.microsoft.com/office/drawing/2014/main" id="{28E577C8-81EC-40E4-A8C9-481B37839E10}"/>
              </a:ext>
            </a:extLst>
          </p:cNvPr>
          <p:cNvSpPr/>
          <p:nvPr/>
        </p:nvSpPr>
        <p:spPr>
          <a:xfrm>
            <a:off x="1026683" y="1818195"/>
            <a:ext cx="408074" cy="408074"/>
          </a:xfrm>
          <a:prstGeom prst="ellipse">
            <a:avLst/>
          </a:prstGeom>
          <a:solidFill>
            <a:srgbClr val="A5202C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</p:txBody>
      </p:sp>
      <p:sp>
        <p:nvSpPr>
          <p:cNvPr id="141" name="Rectangle 167">
            <a:extLst>
              <a:ext uri="{FF2B5EF4-FFF2-40B4-BE49-F238E27FC236}">
                <a16:creationId xmlns:a16="http://schemas.microsoft.com/office/drawing/2014/main" id="{3793BC27-872C-42A0-9055-2C76FCF25A2C}"/>
              </a:ext>
            </a:extLst>
          </p:cNvPr>
          <p:cNvSpPr/>
          <p:nvPr/>
        </p:nvSpPr>
        <p:spPr>
          <a:xfrm>
            <a:off x="2659146" y="1836360"/>
            <a:ext cx="474351" cy="31292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algn="ctr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clo unico</a:t>
            </a:r>
          </a:p>
        </p:txBody>
      </p:sp>
      <p:sp>
        <p:nvSpPr>
          <p:cNvPr id="337" name="Ovale 336">
            <a:extLst>
              <a:ext uri="{FF2B5EF4-FFF2-40B4-BE49-F238E27FC236}">
                <a16:creationId xmlns:a16="http://schemas.microsoft.com/office/drawing/2014/main" id="{E1793118-7ED7-4BCE-9BBA-EF3B023CC354}"/>
              </a:ext>
            </a:extLst>
          </p:cNvPr>
          <p:cNvSpPr/>
          <p:nvPr/>
        </p:nvSpPr>
        <p:spPr>
          <a:xfrm>
            <a:off x="2659146" y="1984536"/>
            <a:ext cx="408074" cy="408074"/>
          </a:xfrm>
          <a:prstGeom prst="ellipse">
            <a:avLst/>
          </a:prstGeom>
          <a:solidFill>
            <a:srgbClr val="A5202C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54" name="Rectangle 169">
            <a:extLst>
              <a:ext uri="{FF2B5EF4-FFF2-40B4-BE49-F238E27FC236}">
                <a16:creationId xmlns:a16="http://schemas.microsoft.com/office/drawing/2014/main" id="{5CF9DC2D-FF34-4493-B4C2-0E6D077F10CD}"/>
              </a:ext>
            </a:extLst>
          </p:cNvPr>
          <p:cNvSpPr/>
          <p:nvPr/>
        </p:nvSpPr>
        <p:spPr>
          <a:xfrm>
            <a:off x="1824368" y="1412204"/>
            <a:ext cx="523236" cy="31292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algn="ctr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urea magistrale</a:t>
            </a:r>
          </a:p>
        </p:txBody>
      </p:sp>
      <p:sp>
        <p:nvSpPr>
          <p:cNvPr id="336" name="Ovale 335">
            <a:extLst>
              <a:ext uri="{FF2B5EF4-FFF2-40B4-BE49-F238E27FC236}">
                <a16:creationId xmlns:a16="http://schemas.microsoft.com/office/drawing/2014/main" id="{C235C386-A751-43F2-A7E9-60FFCEA556FE}"/>
              </a:ext>
            </a:extLst>
          </p:cNvPr>
          <p:cNvSpPr/>
          <p:nvPr/>
        </p:nvSpPr>
        <p:spPr>
          <a:xfrm>
            <a:off x="1858445" y="1653431"/>
            <a:ext cx="408074" cy="408074"/>
          </a:xfrm>
          <a:prstGeom prst="ellipse">
            <a:avLst/>
          </a:prstGeom>
          <a:solidFill>
            <a:srgbClr val="A5202C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89" name="Rectangle 181">
            <a:extLst>
              <a:ext uri="{FF2B5EF4-FFF2-40B4-BE49-F238E27FC236}">
                <a16:creationId xmlns:a16="http://schemas.microsoft.com/office/drawing/2014/main" id="{50D8CBCC-9EBC-407A-9CDB-7466474BA94A}"/>
              </a:ext>
            </a:extLst>
          </p:cNvPr>
          <p:cNvSpPr/>
          <p:nvPr/>
        </p:nvSpPr>
        <p:spPr>
          <a:xfrm>
            <a:off x="3593738" y="2685135"/>
            <a:ext cx="665381" cy="24969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</a:t>
            </a:r>
          </a:p>
          <a:p>
            <a:pPr marL="0" indent="0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Livello</a:t>
            </a:r>
          </a:p>
        </p:txBody>
      </p:sp>
      <p:sp>
        <p:nvSpPr>
          <p:cNvPr id="346" name="Ovale 345">
            <a:extLst>
              <a:ext uri="{FF2B5EF4-FFF2-40B4-BE49-F238E27FC236}">
                <a16:creationId xmlns:a16="http://schemas.microsoft.com/office/drawing/2014/main" id="{961CB3AB-0D9C-4642-BAE6-FC42E6016BF7}"/>
              </a:ext>
            </a:extLst>
          </p:cNvPr>
          <p:cNvSpPr/>
          <p:nvPr/>
        </p:nvSpPr>
        <p:spPr>
          <a:xfrm>
            <a:off x="3138700" y="2601213"/>
            <a:ext cx="408074" cy="408074"/>
          </a:xfrm>
          <a:prstGeom prst="ellipse">
            <a:avLst/>
          </a:prstGeom>
          <a:solidFill>
            <a:srgbClr val="A5202C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4</a:t>
            </a:r>
          </a:p>
        </p:txBody>
      </p:sp>
      <p:sp>
        <p:nvSpPr>
          <p:cNvPr id="185" name="Rectangle 179">
            <a:extLst>
              <a:ext uri="{FF2B5EF4-FFF2-40B4-BE49-F238E27FC236}">
                <a16:creationId xmlns:a16="http://schemas.microsoft.com/office/drawing/2014/main" id="{B69ABDD9-478D-4905-956B-1C1E2CD7F25C}"/>
              </a:ext>
            </a:extLst>
          </p:cNvPr>
          <p:cNvSpPr/>
          <p:nvPr/>
        </p:nvSpPr>
        <p:spPr>
          <a:xfrm>
            <a:off x="3719594" y="3611742"/>
            <a:ext cx="468092" cy="24969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</a:t>
            </a:r>
          </a:p>
          <a:p>
            <a:pPr marL="0" indent="0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Livello</a:t>
            </a:r>
          </a:p>
        </p:txBody>
      </p:sp>
      <p:sp>
        <p:nvSpPr>
          <p:cNvPr id="345" name="Ovale 344">
            <a:extLst>
              <a:ext uri="{FF2B5EF4-FFF2-40B4-BE49-F238E27FC236}">
                <a16:creationId xmlns:a16="http://schemas.microsoft.com/office/drawing/2014/main" id="{5C37C03E-7E5D-4D7A-9FA2-9B504D6871F5}"/>
              </a:ext>
            </a:extLst>
          </p:cNvPr>
          <p:cNvSpPr/>
          <p:nvPr/>
        </p:nvSpPr>
        <p:spPr>
          <a:xfrm>
            <a:off x="3245686" y="3453367"/>
            <a:ext cx="408074" cy="408074"/>
          </a:xfrm>
          <a:prstGeom prst="ellipse">
            <a:avLst/>
          </a:prstGeom>
          <a:solidFill>
            <a:srgbClr val="A5202C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186" name="Rectangle 180">
            <a:extLst>
              <a:ext uri="{FF2B5EF4-FFF2-40B4-BE49-F238E27FC236}">
                <a16:creationId xmlns:a16="http://schemas.microsoft.com/office/drawing/2014/main" id="{68190542-F27E-4F8F-BCDC-422A9ECA7370}"/>
              </a:ext>
            </a:extLst>
          </p:cNvPr>
          <p:cNvSpPr/>
          <p:nvPr/>
        </p:nvSpPr>
        <p:spPr>
          <a:xfrm>
            <a:off x="3306022" y="4312775"/>
            <a:ext cx="736480" cy="24969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defTabSz="830278"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a formazione &amp; Formazione</a:t>
            </a:r>
          </a:p>
        </p:txBody>
      </p:sp>
      <p:sp>
        <p:nvSpPr>
          <p:cNvPr id="344" name="Ovale 343">
            <a:extLst>
              <a:ext uri="{FF2B5EF4-FFF2-40B4-BE49-F238E27FC236}">
                <a16:creationId xmlns:a16="http://schemas.microsoft.com/office/drawing/2014/main" id="{29F54024-5444-4068-B946-944A36CAF415}"/>
              </a:ext>
            </a:extLst>
          </p:cNvPr>
          <p:cNvSpPr/>
          <p:nvPr/>
        </p:nvSpPr>
        <p:spPr>
          <a:xfrm>
            <a:off x="2832866" y="4205742"/>
            <a:ext cx="408074" cy="408074"/>
          </a:xfrm>
          <a:prstGeom prst="ellipse">
            <a:avLst/>
          </a:prstGeom>
          <a:solidFill>
            <a:srgbClr val="A5202C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</a:t>
            </a:r>
          </a:p>
        </p:txBody>
      </p:sp>
      <p:sp>
        <p:nvSpPr>
          <p:cNvPr id="202" name="Rectangle 187">
            <a:extLst>
              <a:ext uri="{FF2B5EF4-FFF2-40B4-BE49-F238E27FC236}">
                <a16:creationId xmlns:a16="http://schemas.microsoft.com/office/drawing/2014/main" id="{7C49F8EB-F8CB-4E3F-BC1B-6EFBC533E510}"/>
              </a:ext>
            </a:extLst>
          </p:cNvPr>
          <p:cNvSpPr/>
          <p:nvPr/>
        </p:nvSpPr>
        <p:spPr>
          <a:xfrm>
            <a:off x="2072305" y="5088183"/>
            <a:ext cx="475564" cy="16574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algn="ctr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mi singoli</a:t>
            </a:r>
          </a:p>
        </p:txBody>
      </p:sp>
      <p:sp>
        <p:nvSpPr>
          <p:cNvPr id="347" name="Ovale 346">
            <a:extLst>
              <a:ext uri="{FF2B5EF4-FFF2-40B4-BE49-F238E27FC236}">
                <a16:creationId xmlns:a16="http://schemas.microsoft.com/office/drawing/2014/main" id="{5FAB7628-2481-4657-A1BC-C00A5665C1C6}"/>
              </a:ext>
            </a:extLst>
          </p:cNvPr>
          <p:cNvSpPr/>
          <p:nvPr/>
        </p:nvSpPr>
        <p:spPr>
          <a:xfrm>
            <a:off x="2098766" y="4636183"/>
            <a:ext cx="408074" cy="408074"/>
          </a:xfrm>
          <a:prstGeom prst="ellipse">
            <a:avLst/>
          </a:prstGeom>
          <a:solidFill>
            <a:srgbClr val="A5202C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7</a:t>
            </a:r>
          </a:p>
        </p:txBody>
      </p:sp>
      <p:sp>
        <p:nvSpPr>
          <p:cNvPr id="311" name="Rectangle 217">
            <a:extLst>
              <a:ext uri="{FF2B5EF4-FFF2-40B4-BE49-F238E27FC236}">
                <a16:creationId xmlns:a16="http://schemas.microsoft.com/office/drawing/2014/main" id="{45680D3B-0DFB-487D-9D3E-4086A74734AB}"/>
              </a:ext>
            </a:extLst>
          </p:cNvPr>
          <p:cNvSpPr/>
          <p:nvPr/>
        </p:nvSpPr>
        <p:spPr>
          <a:xfrm>
            <a:off x="1066067" y="4997688"/>
            <a:ext cx="611969" cy="33665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algn="ctr" defTabSz="830278">
              <a:spcBef>
                <a:spcPts val="0"/>
              </a:spcBef>
              <a:buNone/>
              <a:defRPr/>
            </a:pPr>
            <a:r>
              <a:rPr lang="it-IT" sz="700" cap="small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.d</a:t>
            </a: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it-IT" sz="700" cap="small" baseline="30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8" name="Ovale 347">
            <a:extLst>
              <a:ext uri="{FF2B5EF4-FFF2-40B4-BE49-F238E27FC236}">
                <a16:creationId xmlns:a16="http://schemas.microsoft.com/office/drawing/2014/main" id="{E78B97B8-4055-4475-97F7-54529D413429}"/>
              </a:ext>
            </a:extLst>
          </p:cNvPr>
          <p:cNvSpPr/>
          <p:nvPr/>
        </p:nvSpPr>
        <p:spPr>
          <a:xfrm>
            <a:off x="1165888" y="4550350"/>
            <a:ext cx="408074" cy="408074"/>
          </a:xfrm>
          <a:prstGeom prst="ellipse">
            <a:avLst/>
          </a:prstGeom>
          <a:solidFill>
            <a:srgbClr val="A5202C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349" name="Ovale 348">
            <a:extLst>
              <a:ext uri="{FF2B5EF4-FFF2-40B4-BE49-F238E27FC236}">
                <a16:creationId xmlns:a16="http://schemas.microsoft.com/office/drawing/2014/main" id="{06883DDB-E7EA-483D-B90F-0C5911C44BAE}"/>
              </a:ext>
            </a:extLst>
          </p:cNvPr>
          <p:cNvSpPr/>
          <p:nvPr/>
        </p:nvSpPr>
        <p:spPr>
          <a:xfrm>
            <a:off x="399364" y="3837237"/>
            <a:ext cx="447674" cy="447674"/>
          </a:xfrm>
          <a:prstGeom prst="ellipse">
            <a:avLst/>
          </a:prstGeom>
          <a:solidFill>
            <a:srgbClr val="A5202C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</a:p>
        </p:txBody>
      </p:sp>
      <p:sp>
        <p:nvSpPr>
          <p:cNvPr id="220" name="Rectangle 206">
            <a:extLst>
              <a:ext uri="{FF2B5EF4-FFF2-40B4-BE49-F238E27FC236}">
                <a16:creationId xmlns:a16="http://schemas.microsoft.com/office/drawing/2014/main" id="{CDB3D7AD-4EE2-4985-B3C4-D7C1658126BA}"/>
              </a:ext>
            </a:extLst>
          </p:cNvPr>
          <p:cNvSpPr/>
          <p:nvPr/>
        </p:nvSpPr>
        <p:spPr>
          <a:xfrm>
            <a:off x="2327668" y="3450873"/>
            <a:ext cx="448521" cy="2589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indent="0" algn="r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880</a:t>
            </a:r>
          </a:p>
          <a:p>
            <a:pPr marL="0" indent="0" algn="r" defTabSz="830278">
              <a:spcBef>
                <a:spcPts val="0"/>
              </a:spcBef>
              <a:buNone/>
              <a:defRPr/>
            </a:pPr>
            <a:r>
              <a:rPr lang="it-IT" sz="700" cap="small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ps</a:t>
            </a:r>
            <a:endParaRPr lang="it-IT" sz="700" cap="small" baseline="30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0" name="Ovale 339">
            <a:extLst>
              <a:ext uri="{FF2B5EF4-FFF2-40B4-BE49-F238E27FC236}">
                <a16:creationId xmlns:a16="http://schemas.microsoft.com/office/drawing/2014/main" id="{EA6E4F3A-79E1-4485-B804-A1D5D427CBF8}"/>
              </a:ext>
            </a:extLst>
          </p:cNvPr>
          <p:cNvSpPr/>
          <p:nvPr/>
        </p:nvSpPr>
        <p:spPr>
          <a:xfrm>
            <a:off x="2613847" y="2967728"/>
            <a:ext cx="408074" cy="408074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A5202C"/>
            </a:solidFill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endParaRPr lang="it-IT" sz="1200">
              <a:noFill/>
              <a:latin typeface="GT Walsheim Pro O" pitchFamily="2" charset="77"/>
            </a:endParaRPr>
          </a:p>
        </p:txBody>
      </p:sp>
      <p:pic>
        <p:nvPicPr>
          <p:cNvPr id="342" name="Picture 205">
            <a:extLst>
              <a:ext uri="{FF2B5EF4-FFF2-40B4-BE49-F238E27FC236}">
                <a16:creationId xmlns:a16="http://schemas.microsoft.com/office/drawing/2014/main" id="{16968F58-1E4D-41E1-A9D3-63585F8C77CD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665425" y="3014136"/>
            <a:ext cx="330732" cy="278727"/>
          </a:xfrm>
          <a:prstGeom prst="rect">
            <a:avLst/>
          </a:prstGeom>
        </p:spPr>
      </p:pic>
      <p:sp>
        <p:nvSpPr>
          <p:cNvPr id="309" name="Rectangle 209">
            <a:extLst>
              <a:ext uri="{FF2B5EF4-FFF2-40B4-BE49-F238E27FC236}">
                <a16:creationId xmlns:a16="http://schemas.microsoft.com/office/drawing/2014/main" id="{84AFA6FC-B01E-4913-AE5D-198901F5024B}"/>
              </a:ext>
            </a:extLst>
          </p:cNvPr>
          <p:cNvSpPr/>
          <p:nvPr/>
        </p:nvSpPr>
        <p:spPr>
          <a:xfrm>
            <a:off x="1316509" y="3952466"/>
            <a:ext cx="837578" cy="25024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indent="0" algn="r" defTabSz="830278"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uola di specializzazione legale</a:t>
            </a:r>
            <a:endParaRPr lang="it-IT" sz="700" cap="small" baseline="30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3" name="Ovale 342">
            <a:extLst>
              <a:ext uri="{FF2B5EF4-FFF2-40B4-BE49-F238E27FC236}">
                <a16:creationId xmlns:a16="http://schemas.microsoft.com/office/drawing/2014/main" id="{9B3A1C09-B094-46E2-85D3-53DF6C6C49EE}"/>
              </a:ext>
            </a:extLst>
          </p:cNvPr>
          <p:cNvSpPr/>
          <p:nvPr/>
        </p:nvSpPr>
        <p:spPr>
          <a:xfrm>
            <a:off x="2244322" y="3951859"/>
            <a:ext cx="408074" cy="408074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A5202C"/>
            </a:solidFill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endParaRPr lang="it-IT" sz="1200">
              <a:noFill/>
              <a:latin typeface="GT Walsheim Pro O" pitchFamily="2" charset="77"/>
            </a:endParaRPr>
          </a:p>
        </p:txBody>
      </p:sp>
      <p:pic>
        <p:nvPicPr>
          <p:cNvPr id="308" name="Picture 208">
            <a:extLst>
              <a:ext uri="{FF2B5EF4-FFF2-40B4-BE49-F238E27FC236}">
                <a16:creationId xmlns:a16="http://schemas.microsoft.com/office/drawing/2014/main" id="{18F7D2D8-E82C-4F6A-94D4-F914C8916440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338816" y="4014591"/>
            <a:ext cx="233386" cy="263936"/>
          </a:xfrm>
          <a:prstGeom prst="rect">
            <a:avLst/>
          </a:prstGeom>
        </p:spPr>
      </p:pic>
      <p:sp>
        <p:nvSpPr>
          <p:cNvPr id="561" name="Ovale 560">
            <a:extLst>
              <a:ext uri="{FF2B5EF4-FFF2-40B4-BE49-F238E27FC236}">
                <a16:creationId xmlns:a16="http://schemas.microsoft.com/office/drawing/2014/main" id="{2E909C63-B7E9-4E71-8E19-FB3E0CF2CEA5}"/>
              </a:ext>
            </a:extLst>
          </p:cNvPr>
          <p:cNvSpPr/>
          <p:nvPr/>
        </p:nvSpPr>
        <p:spPr>
          <a:xfrm>
            <a:off x="5562480" y="2998500"/>
            <a:ext cx="789833" cy="789833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defTabSz="914400">
              <a:lnSpc>
                <a:spcPct val="90000"/>
              </a:lnSpc>
              <a:spcBef>
                <a:spcPts val="600"/>
              </a:spcBef>
              <a:buNone/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T Walsheim Pro O" pitchFamily="2" charset="77"/>
              <a:cs typeface="Arial"/>
            </a:endParaRPr>
          </a:p>
        </p:txBody>
      </p:sp>
      <p:sp>
        <p:nvSpPr>
          <p:cNvPr id="529" name="Ovale 528">
            <a:extLst>
              <a:ext uri="{FF2B5EF4-FFF2-40B4-BE49-F238E27FC236}">
                <a16:creationId xmlns:a16="http://schemas.microsoft.com/office/drawing/2014/main" id="{3CB97B81-A2A1-4E88-B5A1-5167DE84F72F}"/>
              </a:ext>
            </a:extLst>
          </p:cNvPr>
          <p:cNvSpPr/>
          <p:nvPr/>
        </p:nvSpPr>
        <p:spPr>
          <a:xfrm>
            <a:off x="4995159" y="2416923"/>
            <a:ext cx="1906793" cy="1906793"/>
          </a:xfrm>
          <a:prstGeom prst="ellipse">
            <a:avLst/>
          </a:prstGeom>
          <a:noFill/>
          <a:ln w="12700">
            <a:solidFill>
              <a:srgbClr val="B4B4B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it-IT"/>
          </a:p>
        </p:txBody>
      </p:sp>
      <p:sp>
        <p:nvSpPr>
          <p:cNvPr id="533" name="Ovale 532">
            <a:extLst>
              <a:ext uri="{FF2B5EF4-FFF2-40B4-BE49-F238E27FC236}">
                <a16:creationId xmlns:a16="http://schemas.microsoft.com/office/drawing/2014/main" id="{C403E068-081B-410A-BD2E-7BD2B543D39B}"/>
              </a:ext>
            </a:extLst>
          </p:cNvPr>
          <p:cNvSpPr/>
          <p:nvPr/>
        </p:nvSpPr>
        <p:spPr>
          <a:xfrm>
            <a:off x="4455322" y="1857333"/>
            <a:ext cx="3015421" cy="3015421"/>
          </a:xfrm>
          <a:prstGeom prst="ellipse">
            <a:avLst/>
          </a:prstGeom>
          <a:noFill/>
          <a:ln w="12700">
            <a:solidFill>
              <a:srgbClr val="B4B4B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it-IT"/>
          </a:p>
        </p:txBody>
      </p:sp>
      <p:sp>
        <p:nvSpPr>
          <p:cNvPr id="534" name="Rectangle 168">
            <a:extLst>
              <a:ext uri="{FF2B5EF4-FFF2-40B4-BE49-F238E27FC236}">
                <a16:creationId xmlns:a16="http://schemas.microsoft.com/office/drawing/2014/main" id="{FC91C5C3-1DD5-46A4-90A7-F4A3F2375F58}"/>
              </a:ext>
            </a:extLst>
          </p:cNvPr>
          <p:cNvSpPr/>
          <p:nvPr/>
        </p:nvSpPr>
        <p:spPr>
          <a:xfrm>
            <a:off x="4426206" y="1916381"/>
            <a:ext cx="575432" cy="31292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algn="r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urea triennale</a:t>
            </a:r>
          </a:p>
        </p:txBody>
      </p:sp>
      <p:sp>
        <p:nvSpPr>
          <p:cNvPr id="535" name="Ovale 534">
            <a:extLst>
              <a:ext uri="{FF2B5EF4-FFF2-40B4-BE49-F238E27FC236}">
                <a16:creationId xmlns:a16="http://schemas.microsoft.com/office/drawing/2014/main" id="{CB010271-BC1D-4A14-B02E-9241BA1EC8DE}"/>
              </a:ext>
            </a:extLst>
          </p:cNvPr>
          <p:cNvSpPr/>
          <p:nvPr/>
        </p:nvSpPr>
        <p:spPr>
          <a:xfrm>
            <a:off x="5046233" y="1810988"/>
            <a:ext cx="408074" cy="408074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538" name="Rectangle 169">
            <a:extLst>
              <a:ext uri="{FF2B5EF4-FFF2-40B4-BE49-F238E27FC236}">
                <a16:creationId xmlns:a16="http://schemas.microsoft.com/office/drawing/2014/main" id="{401922F2-1A81-4DA3-8149-6C8847390820}"/>
              </a:ext>
            </a:extLst>
          </p:cNvPr>
          <p:cNvSpPr/>
          <p:nvPr/>
        </p:nvSpPr>
        <p:spPr>
          <a:xfrm>
            <a:off x="9833986" y="1404997"/>
            <a:ext cx="523236" cy="31292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algn="ctr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urea magistrale</a:t>
            </a:r>
          </a:p>
        </p:txBody>
      </p:sp>
      <p:sp>
        <p:nvSpPr>
          <p:cNvPr id="540" name="Rectangle 181">
            <a:extLst>
              <a:ext uri="{FF2B5EF4-FFF2-40B4-BE49-F238E27FC236}">
                <a16:creationId xmlns:a16="http://schemas.microsoft.com/office/drawing/2014/main" id="{788D3A6E-AF31-440B-83E6-3148CE8D8E55}"/>
              </a:ext>
            </a:extLst>
          </p:cNvPr>
          <p:cNvSpPr/>
          <p:nvPr/>
        </p:nvSpPr>
        <p:spPr>
          <a:xfrm>
            <a:off x="11680463" y="3611743"/>
            <a:ext cx="665381" cy="24969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</a:t>
            </a:r>
          </a:p>
          <a:p>
            <a:pPr marL="0" indent="0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Livello</a:t>
            </a:r>
          </a:p>
        </p:txBody>
      </p:sp>
      <p:sp>
        <p:nvSpPr>
          <p:cNvPr id="542" name="Rectangle 179">
            <a:extLst>
              <a:ext uri="{FF2B5EF4-FFF2-40B4-BE49-F238E27FC236}">
                <a16:creationId xmlns:a16="http://schemas.microsoft.com/office/drawing/2014/main" id="{F775BC14-0D1E-447A-81F8-8C0BB139BAC3}"/>
              </a:ext>
            </a:extLst>
          </p:cNvPr>
          <p:cNvSpPr/>
          <p:nvPr/>
        </p:nvSpPr>
        <p:spPr>
          <a:xfrm>
            <a:off x="7345920" y="4328264"/>
            <a:ext cx="846729" cy="24969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a formazione &amp; Formazione</a:t>
            </a:r>
          </a:p>
        </p:txBody>
      </p:sp>
      <p:sp>
        <p:nvSpPr>
          <p:cNvPr id="543" name="Ovale 542">
            <a:extLst>
              <a:ext uri="{FF2B5EF4-FFF2-40B4-BE49-F238E27FC236}">
                <a16:creationId xmlns:a16="http://schemas.microsoft.com/office/drawing/2014/main" id="{21A5753E-E94F-4EF5-BC89-4AE82D97B013}"/>
              </a:ext>
            </a:extLst>
          </p:cNvPr>
          <p:cNvSpPr/>
          <p:nvPr/>
        </p:nvSpPr>
        <p:spPr>
          <a:xfrm>
            <a:off x="6872013" y="4183058"/>
            <a:ext cx="408074" cy="408074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7</a:t>
            </a:r>
          </a:p>
        </p:txBody>
      </p:sp>
      <p:sp>
        <p:nvSpPr>
          <p:cNvPr id="544" name="Rectangle 180">
            <a:extLst>
              <a:ext uri="{FF2B5EF4-FFF2-40B4-BE49-F238E27FC236}">
                <a16:creationId xmlns:a16="http://schemas.microsoft.com/office/drawing/2014/main" id="{A26DDAF2-9505-4F30-A90E-8BBB0FDD6A88}"/>
              </a:ext>
            </a:extLst>
          </p:cNvPr>
          <p:cNvSpPr/>
          <p:nvPr/>
        </p:nvSpPr>
        <p:spPr>
          <a:xfrm>
            <a:off x="10131549" y="5067240"/>
            <a:ext cx="575432" cy="24969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algn="ctr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mi </a:t>
            </a:r>
          </a:p>
          <a:p>
            <a:pPr marL="0" indent="0" algn="ctr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oli</a:t>
            </a:r>
          </a:p>
        </p:txBody>
      </p:sp>
      <p:sp>
        <p:nvSpPr>
          <p:cNvPr id="552" name="Rectangle 196">
            <a:extLst>
              <a:ext uri="{FF2B5EF4-FFF2-40B4-BE49-F238E27FC236}">
                <a16:creationId xmlns:a16="http://schemas.microsoft.com/office/drawing/2014/main" id="{5510E21C-1126-41EE-BCC3-63BD38B80B92}"/>
              </a:ext>
            </a:extLst>
          </p:cNvPr>
          <p:cNvSpPr/>
          <p:nvPr/>
        </p:nvSpPr>
        <p:spPr>
          <a:xfrm>
            <a:off x="5479383" y="2711286"/>
            <a:ext cx="685216" cy="26620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algn="ctr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lab per start-ups</a:t>
            </a:r>
          </a:p>
        </p:txBody>
      </p:sp>
      <p:sp>
        <p:nvSpPr>
          <p:cNvPr id="553" name="Ovale 552">
            <a:extLst>
              <a:ext uri="{FF2B5EF4-FFF2-40B4-BE49-F238E27FC236}">
                <a16:creationId xmlns:a16="http://schemas.microsoft.com/office/drawing/2014/main" id="{D01D6E04-6A44-4969-9F29-D2EBFD596785}"/>
              </a:ext>
            </a:extLst>
          </p:cNvPr>
          <p:cNvSpPr/>
          <p:nvPr/>
        </p:nvSpPr>
        <p:spPr>
          <a:xfrm>
            <a:off x="5595333" y="2266200"/>
            <a:ext cx="408074" cy="408074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B4B4B4"/>
            </a:solidFill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endParaRPr lang="it-IT" sz="1200">
              <a:noFill/>
              <a:latin typeface="GT Walsheim Pro O" pitchFamily="2" charset="77"/>
            </a:endParaRPr>
          </a:p>
        </p:txBody>
      </p:sp>
      <p:sp>
        <p:nvSpPr>
          <p:cNvPr id="555" name="Rectangle 206">
            <a:extLst>
              <a:ext uri="{FF2B5EF4-FFF2-40B4-BE49-F238E27FC236}">
                <a16:creationId xmlns:a16="http://schemas.microsoft.com/office/drawing/2014/main" id="{9A2BCA4F-9638-47B1-A807-6CDC47C1ADBC}"/>
              </a:ext>
            </a:extLst>
          </p:cNvPr>
          <p:cNvSpPr/>
          <p:nvPr/>
        </p:nvSpPr>
        <p:spPr>
          <a:xfrm>
            <a:off x="6334106" y="3450873"/>
            <a:ext cx="448521" cy="2589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indent="0" algn="r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850</a:t>
            </a:r>
          </a:p>
          <a:p>
            <a:pPr marL="0" indent="0" algn="r" defTabSz="830278">
              <a:spcBef>
                <a:spcPts val="0"/>
              </a:spcBef>
              <a:buNone/>
              <a:defRPr/>
            </a:pPr>
            <a:r>
              <a:rPr lang="it-IT" sz="700" cap="small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ps</a:t>
            </a:r>
            <a:endParaRPr lang="it-IT" sz="700" cap="smal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6" name="Ovale 555">
            <a:extLst>
              <a:ext uri="{FF2B5EF4-FFF2-40B4-BE49-F238E27FC236}">
                <a16:creationId xmlns:a16="http://schemas.microsoft.com/office/drawing/2014/main" id="{F1FF8A7D-9A0C-4D33-B6E1-17733EE3EB83}"/>
              </a:ext>
            </a:extLst>
          </p:cNvPr>
          <p:cNvSpPr/>
          <p:nvPr/>
        </p:nvSpPr>
        <p:spPr>
          <a:xfrm>
            <a:off x="6630281" y="3043283"/>
            <a:ext cx="408074" cy="408074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B4B4B4"/>
            </a:solidFill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endParaRPr lang="it-IT" sz="1200">
              <a:noFill/>
              <a:latin typeface="GT Walsheim Pro O" pitchFamily="2" charset="77"/>
            </a:endParaRPr>
          </a:p>
        </p:txBody>
      </p:sp>
      <p:pic>
        <p:nvPicPr>
          <p:cNvPr id="557" name="Picture 205">
            <a:extLst>
              <a:ext uri="{FF2B5EF4-FFF2-40B4-BE49-F238E27FC236}">
                <a16:creationId xmlns:a16="http://schemas.microsoft.com/office/drawing/2014/main" id="{F275D882-8227-4A39-8BD4-B052773C11DC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681859" y="3089691"/>
            <a:ext cx="330732" cy="278727"/>
          </a:xfrm>
          <a:prstGeom prst="rect">
            <a:avLst/>
          </a:prstGeom>
        </p:spPr>
      </p:pic>
      <p:sp>
        <p:nvSpPr>
          <p:cNvPr id="558" name="Rectangle 209">
            <a:extLst>
              <a:ext uri="{FF2B5EF4-FFF2-40B4-BE49-F238E27FC236}">
                <a16:creationId xmlns:a16="http://schemas.microsoft.com/office/drawing/2014/main" id="{5D50D008-783F-4C67-BCBA-2E245B87F4E6}"/>
              </a:ext>
            </a:extLst>
          </p:cNvPr>
          <p:cNvSpPr/>
          <p:nvPr/>
        </p:nvSpPr>
        <p:spPr>
          <a:xfrm>
            <a:off x="5325011" y="3945259"/>
            <a:ext cx="837578" cy="25024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indent="0" algn="r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tional network</a:t>
            </a:r>
          </a:p>
        </p:txBody>
      </p:sp>
      <p:sp>
        <p:nvSpPr>
          <p:cNvPr id="559" name="Ovale 558">
            <a:extLst>
              <a:ext uri="{FF2B5EF4-FFF2-40B4-BE49-F238E27FC236}">
                <a16:creationId xmlns:a16="http://schemas.microsoft.com/office/drawing/2014/main" id="{AFD027D9-C34B-43C1-A0AE-BD3EC83B357A}"/>
              </a:ext>
            </a:extLst>
          </p:cNvPr>
          <p:cNvSpPr/>
          <p:nvPr/>
        </p:nvSpPr>
        <p:spPr>
          <a:xfrm>
            <a:off x="6239539" y="3951036"/>
            <a:ext cx="408074" cy="408074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B4B4B4"/>
            </a:solidFill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endParaRPr lang="it-IT" sz="1200">
              <a:noFill/>
              <a:latin typeface="GT Walsheim Pro O" pitchFamily="2" charset="77"/>
            </a:endParaRPr>
          </a:p>
        </p:txBody>
      </p:sp>
      <p:pic>
        <p:nvPicPr>
          <p:cNvPr id="563" name="Elemento grafico 33">
            <a:extLst>
              <a:ext uri="{FF2B5EF4-FFF2-40B4-BE49-F238E27FC236}">
                <a16:creationId xmlns:a16="http://schemas.microsoft.com/office/drawing/2014/main" id="{1EAFDE13-CE3A-4751-B0F7-0DDEF2988C1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644910" y="3242086"/>
            <a:ext cx="626339" cy="313169"/>
          </a:xfrm>
          <a:prstGeom prst="rect">
            <a:avLst/>
          </a:prstGeom>
        </p:spPr>
      </p:pic>
      <p:sp>
        <p:nvSpPr>
          <p:cNvPr id="565" name="Ovale 564">
            <a:extLst>
              <a:ext uri="{FF2B5EF4-FFF2-40B4-BE49-F238E27FC236}">
                <a16:creationId xmlns:a16="http://schemas.microsoft.com/office/drawing/2014/main" id="{34CAA4A2-01DE-44B3-B069-F50DE11CE01F}"/>
              </a:ext>
            </a:extLst>
          </p:cNvPr>
          <p:cNvSpPr/>
          <p:nvPr/>
        </p:nvSpPr>
        <p:spPr>
          <a:xfrm>
            <a:off x="466252" y="2422307"/>
            <a:ext cx="408074" cy="408074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A5202C"/>
            </a:solidFill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endParaRPr lang="it-IT" sz="1200">
              <a:noFill/>
              <a:latin typeface="GT Walsheim Pro O" pitchFamily="2" charset="77"/>
            </a:endParaRPr>
          </a:p>
        </p:txBody>
      </p:sp>
      <p:pic>
        <p:nvPicPr>
          <p:cNvPr id="566" name="Elemento grafico 565">
            <a:extLst>
              <a:ext uri="{FF2B5EF4-FFF2-40B4-BE49-F238E27FC236}">
                <a16:creationId xmlns:a16="http://schemas.microsoft.com/office/drawing/2014/main" id="{E5E5363E-7FA5-487B-B4A1-433C3CE481C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56197" y="2533925"/>
            <a:ext cx="222042" cy="185280"/>
          </a:xfrm>
          <a:prstGeom prst="rect">
            <a:avLst/>
          </a:prstGeom>
        </p:spPr>
      </p:pic>
      <p:sp>
        <p:nvSpPr>
          <p:cNvPr id="567" name="Ovale 566">
            <a:extLst>
              <a:ext uri="{FF2B5EF4-FFF2-40B4-BE49-F238E27FC236}">
                <a16:creationId xmlns:a16="http://schemas.microsoft.com/office/drawing/2014/main" id="{C3111EC3-C138-498E-8325-22D8BF108667}"/>
              </a:ext>
            </a:extLst>
          </p:cNvPr>
          <p:cNvSpPr/>
          <p:nvPr/>
        </p:nvSpPr>
        <p:spPr>
          <a:xfrm>
            <a:off x="4486508" y="2402739"/>
            <a:ext cx="408074" cy="408074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B4B4B4"/>
            </a:solidFill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endParaRPr lang="it-IT" sz="1200">
              <a:noFill/>
              <a:latin typeface="GT Walsheim Pro O" pitchFamily="2" charset="77"/>
            </a:endParaRPr>
          </a:p>
        </p:txBody>
      </p:sp>
      <p:pic>
        <p:nvPicPr>
          <p:cNvPr id="568" name="Elemento grafico 567">
            <a:extLst>
              <a:ext uri="{FF2B5EF4-FFF2-40B4-BE49-F238E27FC236}">
                <a16:creationId xmlns:a16="http://schemas.microsoft.com/office/drawing/2014/main" id="{6D2BE4CE-F3D0-43C1-9A9A-20DDDA57ACA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576453" y="2514357"/>
            <a:ext cx="222042" cy="185280"/>
          </a:xfrm>
          <a:prstGeom prst="rect">
            <a:avLst/>
          </a:prstGeom>
        </p:spPr>
      </p:pic>
      <p:pic>
        <p:nvPicPr>
          <p:cNvPr id="570" name="Picture 207">
            <a:extLst>
              <a:ext uri="{FF2B5EF4-FFF2-40B4-BE49-F238E27FC236}">
                <a16:creationId xmlns:a16="http://schemas.microsoft.com/office/drawing/2014/main" id="{AFF19531-6DA0-4099-9DEC-7F4B9DE3B712}"/>
              </a:ext>
            </a:extLst>
          </p:cNvPr>
          <p:cNvPicPr>
            <a:picLocks noChangeAspect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314497" y="3530101"/>
            <a:ext cx="273675" cy="284290"/>
          </a:xfrm>
          <a:prstGeom prst="rect">
            <a:avLst/>
          </a:prstGeom>
        </p:spPr>
      </p:pic>
      <p:pic>
        <p:nvPicPr>
          <p:cNvPr id="571" name="Picture 1">
            <a:extLst>
              <a:ext uri="{FF2B5EF4-FFF2-40B4-BE49-F238E27FC236}">
                <a16:creationId xmlns:a16="http://schemas.microsoft.com/office/drawing/2014/main" id="{237987EB-5F1D-48AF-8A3A-FE6B3FD8AA92}"/>
              </a:ext>
            </a:extLst>
          </p:cNvPr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78019" y="2329058"/>
            <a:ext cx="239724" cy="256299"/>
          </a:xfrm>
          <a:prstGeom prst="rect">
            <a:avLst/>
          </a:prstGeom>
          <a:ln>
            <a:noFill/>
          </a:ln>
        </p:spPr>
      </p:pic>
      <p:pic>
        <p:nvPicPr>
          <p:cNvPr id="572" name="Picture 4">
            <a:extLst>
              <a:ext uri="{FF2B5EF4-FFF2-40B4-BE49-F238E27FC236}">
                <a16:creationId xmlns:a16="http://schemas.microsoft.com/office/drawing/2014/main" id="{F2DEDC9B-826A-410B-A772-FB7529524F66}"/>
              </a:ext>
            </a:extLst>
          </p:cNvPr>
          <p:cNvPicPr>
            <a:picLocks noChangeAspect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301111" y="4023482"/>
            <a:ext cx="276469" cy="267830"/>
          </a:xfrm>
          <a:prstGeom prst="rect">
            <a:avLst/>
          </a:prstGeom>
          <a:ln>
            <a:noFill/>
          </a:ln>
        </p:spPr>
      </p:pic>
      <p:sp>
        <p:nvSpPr>
          <p:cNvPr id="607" name="Ovale 606">
            <a:extLst>
              <a:ext uri="{FF2B5EF4-FFF2-40B4-BE49-F238E27FC236}">
                <a16:creationId xmlns:a16="http://schemas.microsoft.com/office/drawing/2014/main" id="{0ACCC5E5-FBDA-420F-B975-D1C6A5B6132F}"/>
              </a:ext>
            </a:extLst>
          </p:cNvPr>
          <p:cNvSpPr/>
          <p:nvPr/>
        </p:nvSpPr>
        <p:spPr>
          <a:xfrm>
            <a:off x="9509514" y="3007947"/>
            <a:ext cx="789833" cy="789833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defTabSz="914400">
              <a:lnSpc>
                <a:spcPct val="90000"/>
              </a:lnSpc>
              <a:spcBef>
                <a:spcPts val="600"/>
              </a:spcBef>
              <a:buNone/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GT Walsheim Pro O" pitchFamily="2" charset="77"/>
              <a:cs typeface="Arial"/>
            </a:endParaRPr>
          </a:p>
        </p:txBody>
      </p:sp>
      <p:sp>
        <p:nvSpPr>
          <p:cNvPr id="575" name="Ovale 574">
            <a:extLst>
              <a:ext uri="{FF2B5EF4-FFF2-40B4-BE49-F238E27FC236}">
                <a16:creationId xmlns:a16="http://schemas.microsoft.com/office/drawing/2014/main" id="{68A54328-AEB0-4547-B96F-FDB5625B06C3}"/>
              </a:ext>
            </a:extLst>
          </p:cNvPr>
          <p:cNvSpPr/>
          <p:nvPr/>
        </p:nvSpPr>
        <p:spPr>
          <a:xfrm>
            <a:off x="8942193" y="2426370"/>
            <a:ext cx="1906793" cy="1906793"/>
          </a:xfrm>
          <a:prstGeom prst="ellipse">
            <a:avLst/>
          </a:prstGeom>
          <a:noFill/>
          <a:ln w="12700">
            <a:solidFill>
              <a:srgbClr val="CC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it-IT"/>
          </a:p>
        </p:txBody>
      </p:sp>
      <p:sp>
        <p:nvSpPr>
          <p:cNvPr id="579" name="Ovale 578">
            <a:extLst>
              <a:ext uri="{FF2B5EF4-FFF2-40B4-BE49-F238E27FC236}">
                <a16:creationId xmlns:a16="http://schemas.microsoft.com/office/drawing/2014/main" id="{EF5DC266-E988-430C-9196-032397CC4FBD}"/>
              </a:ext>
            </a:extLst>
          </p:cNvPr>
          <p:cNvSpPr/>
          <p:nvPr/>
        </p:nvSpPr>
        <p:spPr>
          <a:xfrm>
            <a:off x="8402356" y="1866780"/>
            <a:ext cx="3015421" cy="3015421"/>
          </a:xfrm>
          <a:prstGeom prst="ellipse">
            <a:avLst/>
          </a:prstGeom>
          <a:noFill/>
          <a:ln w="12700">
            <a:solidFill>
              <a:srgbClr val="CC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endParaRPr lang="it-IT"/>
          </a:p>
        </p:txBody>
      </p:sp>
      <p:sp>
        <p:nvSpPr>
          <p:cNvPr id="580" name="Rectangle 168">
            <a:extLst>
              <a:ext uri="{FF2B5EF4-FFF2-40B4-BE49-F238E27FC236}">
                <a16:creationId xmlns:a16="http://schemas.microsoft.com/office/drawing/2014/main" id="{DD39DB40-20DD-48C6-9483-7171F1DD496F}"/>
              </a:ext>
            </a:extLst>
          </p:cNvPr>
          <p:cNvSpPr/>
          <p:nvPr/>
        </p:nvSpPr>
        <p:spPr>
          <a:xfrm>
            <a:off x="8373240" y="1925828"/>
            <a:ext cx="575432" cy="31292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algn="r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urea triennale</a:t>
            </a:r>
          </a:p>
        </p:txBody>
      </p:sp>
      <p:sp>
        <p:nvSpPr>
          <p:cNvPr id="581" name="Ovale 580">
            <a:extLst>
              <a:ext uri="{FF2B5EF4-FFF2-40B4-BE49-F238E27FC236}">
                <a16:creationId xmlns:a16="http://schemas.microsoft.com/office/drawing/2014/main" id="{988AA6EE-BEB7-425E-A710-50233E10762D}"/>
              </a:ext>
            </a:extLst>
          </p:cNvPr>
          <p:cNvSpPr/>
          <p:nvPr/>
        </p:nvSpPr>
        <p:spPr>
          <a:xfrm>
            <a:off x="8993267" y="1820435"/>
            <a:ext cx="408074" cy="408074"/>
          </a:xfrm>
          <a:prstGeom prst="ellipse">
            <a:avLst/>
          </a:prstGeom>
          <a:solidFill>
            <a:schemeClr val="accent3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82" name="Rectangle 167">
            <a:extLst>
              <a:ext uri="{FF2B5EF4-FFF2-40B4-BE49-F238E27FC236}">
                <a16:creationId xmlns:a16="http://schemas.microsoft.com/office/drawing/2014/main" id="{F8D141E5-5DF2-4875-BE1F-C8EBEF8CC937}"/>
              </a:ext>
            </a:extLst>
          </p:cNvPr>
          <p:cNvSpPr/>
          <p:nvPr/>
        </p:nvSpPr>
        <p:spPr>
          <a:xfrm>
            <a:off x="11449644" y="4328264"/>
            <a:ext cx="730336" cy="31292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a formazione &amp; Formazione</a:t>
            </a:r>
          </a:p>
        </p:txBody>
      </p:sp>
      <p:sp>
        <p:nvSpPr>
          <p:cNvPr id="583" name="Ovale 582">
            <a:extLst>
              <a:ext uri="{FF2B5EF4-FFF2-40B4-BE49-F238E27FC236}">
                <a16:creationId xmlns:a16="http://schemas.microsoft.com/office/drawing/2014/main" id="{3E516734-E3E8-4AA0-8EEC-081674342C84}"/>
              </a:ext>
            </a:extLst>
          </p:cNvPr>
          <p:cNvSpPr/>
          <p:nvPr/>
        </p:nvSpPr>
        <p:spPr>
          <a:xfrm>
            <a:off x="11007093" y="4183058"/>
            <a:ext cx="408074" cy="408074"/>
          </a:xfrm>
          <a:prstGeom prst="ellipse">
            <a:avLst/>
          </a:prstGeom>
          <a:solidFill>
            <a:schemeClr val="accent3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601" name="Rectangle 206">
            <a:extLst>
              <a:ext uri="{FF2B5EF4-FFF2-40B4-BE49-F238E27FC236}">
                <a16:creationId xmlns:a16="http://schemas.microsoft.com/office/drawing/2014/main" id="{C941F169-1828-47E2-83F7-C753B246F8D9}"/>
              </a:ext>
            </a:extLst>
          </p:cNvPr>
          <p:cNvSpPr/>
          <p:nvPr/>
        </p:nvSpPr>
        <p:spPr>
          <a:xfrm>
            <a:off x="10294252" y="3395113"/>
            <a:ext cx="448521" cy="25896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indent="0" algn="r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340</a:t>
            </a:r>
          </a:p>
          <a:p>
            <a:pPr marL="0" indent="0" algn="r" defTabSz="830278">
              <a:spcBef>
                <a:spcPts val="0"/>
              </a:spcBef>
              <a:buNone/>
              <a:defRPr/>
            </a:pPr>
            <a:r>
              <a:rPr lang="it-IT" sz="700" cap="small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ps</a:t>
            </a:r>
            <a:endParaRPr lang="it-IT" sz="700" cap="small" baseline="30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2" name="Ovale 601">
            <a:extLst>
              <a:ext uri="{FF2B5EF4-FFF2-40B4-BE49-F238E27FC236}">
                <a16:creationId xmlns:a16="http://schemas.microsoft.com/office/drawing/2014/main" id="{D4A0A8D0-87F6-4107-8C13-9652800C4BFE}"/>
              </a:ext>
            </a:extLst>
          </p:cNvPr>
          <p:cNvSpPr/>
          <p:nvPr/>
        </p:nvSpPr>
        <p:spPr>
          <a:xfrm>
            <a:off x="10580431" y="2969968"/>
            <a:ext cx="408074" cy="408074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CC0000"/>
            </a:solidFill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endParaRPr lang="it-IT" sz="1200">
              <a:noFill/>
              <a:latin typeface="GT Walsheim Pro O" pitchFamily="2" charset="77"/>
            </a:endParaRPr>
          </a:p>
        </p:txBody>
      </p:sp>
      <p:pic>
        <p:nvPicPr>
          <p:cNvPr id="603" name="Picture 205">
            <a:extLst>
              <a:ext uri="{FF2B5EF4-FFF2-40B4-BE49-F238E27FC236}">
                <a16:creationId xmlns:a16="http://schemas.microsoft.com/office/drawing/2014/main" id="{EF5E8724-F500-44C7-A799-ED4E1BEEE52E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632009" y="3016376"/>
            <a:ext cx="330732" cy="278727"/>
          </a:xfrm>
          <a:prstGeom prst="rect">
            <a:avLst/>
          </a:prstGeom>
        </p:spPr>
      </p:pic>
      <p:pic>
        <p:nvPicPr>
          <p:cNvPr id="564" name="Picture 225" descr="Eventi Live Università Telematica San Raffaele – Dove Vuoi, Come Vuoi,  Quando Vuoi">
            <a:extLst>
              <a:ext uri="{FF2B5EF4-FFF2-40B4-BE49-F238E27FC236}">
                <a16:creationId xmlns:a16="http://schemas.microsoft.com/office/drawing/2014/main" id="{C81F9A48-C985-45A4-ADF1-7884E2315BDE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0" cstate="print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662950" y="3292863"/>
            <a:ext cx="510712" cy="226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9" name="Ovale 608">
            <a:extLst>
              <a:ext uri="{FF2B5EF4-FFF2-40B4-BE49-F238E27FC236}">
                <a16:creationId xmlns:a16="http://schemas.microsoft.com/office/drawing/2014/main" id="{986EB37C-0FBF-438D-BCFE-EA568CE79223}"/>
              </a:ext>
            </a:extLst>
          </p:cNvPr>
          <p:cNvSpPr/>
          <p:nvPr/>
        </p:nvSpPr>
        <p:spPr>
          <a:xfrm>
            <a:off x="8416537" y="2422307"/>
            <a:ext cx="408074" cy="408074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CC0000"/>
            </a:solidFill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endParaRPr lang="it-IT" sz="1200">
              <a:noFill/>
              <a:latin typeface="GT Walsheim Pro O" pitchFamily="2" charset="77"/>
            </a:endParaRPr>
          </a:p>
        </p:txBody>
      </p:sp>
      <p:pic>
        <p:nvPicPr>
          <p:cNvPr id="610" name="Elemento grafico 609">
            <a:extLst>
              <a:ext uri="{FF2B5EF4-FFF2-40B4-BE49-F238E27FC236}">
                <a16:creationId xmlns:a16="http://schemas.microsoft.com/office/drawing/2014/main" id="{3E3DFA1E-4CCB-4D5C-AB33-F5740178869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8506482" y="2533925"/>
            <a:ext cx="222042" cy="185280"/>
          </a:xfrm>
          <a:prstGeom prst="rect">
            <a:avLst/>
          </a:prstGeom>
        </p:spPr>
      </p:pic>
      <p:sp>
        <p:nvSpPr>
          <p:cNvPr id="614" name="Rettangolo 79">
            <a:extLst>
              <a:ext uri="{FF2B5EF4-FFF2-40B4-BE49-F238E27FC236}">
                <a16:creationId xmlns:a16="http://schemas.microsoft.com/office/drawing/2014/main" id="{8A902222-7A87-473C-845A-92694867DD92}"/>
              </a:ext>
            </a:extLst>
          </p:cNvPr>
          <p:cNvSpPr/>
          <p:nvPr/>
        </p:nvSpPr>
        <p:spPr>
          <a:xfrm>
            <a:off x="60585" y="5560682"/>
            <a:ext cx="33858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 defTabSz="914400">
              <a:spcBef>
                <a:spcPts val="0"/>
              </a:spcBef>
              <a:buNone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620013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6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620013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RSI DI LAUREA TRIENNALE</a:t>
            </a:r>
            <a:endParaRPr kumimoji="0" lang="it-IT" sz="1400" b="1" i="0" u="none" strike="noStrike" kern="1200" cap="none" spc="0" normalizeH="0" baseline="3000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1" name="Rettangolo 79">
            <a:extLst>
              <a:ext uri="{FF2B5EF4-FFF2-40B4-BE49-F238E27FC236}">
                <a16:creationId xmlns:a16="http://schemas.microsoft.com/office/drawing/2014/main" id="{C375C58E-F8C8-44FE-A6FB-585E404B9B03}"/>
              </a:ext>
            </a:extLst>
          </p:cNvPr>
          <p:cNvSpPr/>
          <p:nvPr/>
        </p:nvSpPr>
        <p:spPr>
          <a:xfrm>
            <a:off x="3270579" y="5555144"/>
            <a:ext cx="35344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 defTabSz="914400">
              <a:spcBef>
                <a:spcPts val="0"/>
              </a:spcBef>
              <a:buNone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620013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3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RSI DI LAUREA MAGISTRALE</a:t>
            </a:r>
            <a:endParaRPr kumimoji="0" lang="it-IT" sz="1400" b="1" i="0" u="none" strike="noStrike" kern="1200" cap="none" spc="0" normalizeH="0" baseline="3000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4" name="Rettangolo 79">
            <a:extLst>
              <a:ext uri="{FF2B5EF4-FFF2-40B4-BE49-F238E27FC236}">
                <a16:creationId xmlns:a16="http://schemas.microsoft.com/office/drawing/2014/main" id="{89713528-29E0-4B74-9EAC-5721CAC1276F}"/>
              </a:ext>
            </a:extLst>
          </p:cNvPr>
          <p:cNvSpPr/>
          <p:nvPr/>
        </p:nvSpPr>
        <p:spPr>
          <a:xfrm>
            <a:off x="6851429" y="5563451"/>
            <a:ext cx="15762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 defTabSz="914400">
              <a:spcBef>
                <a:spcPts val="0"/>
              </a:spcBef>
              <a:buNone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620013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ICLO UNICO</a:t>
            </a:r>
          </a:p>
        </p:txBody>
      </p:sp>
      <p:sp>
        <p:nvSpPr>
          <p:cNvPr id="645" name="Rettangolo 79">
            <a:extLst>
              <a:ext uri="{FF2B5EF4-FFF2-40B4-BE49-F238E27FC236}">
                <a16:creationId xmlns:a16="http://schemas.microsoft.com/office/drawing/2014/main" id="{C34A235F-4792-414A-9452-31F885E54F70}"/>
              </a:ext>
            </a:extLst>
          </p:cNvPr>
          <p:cNvSpPr/>
          <p:nvPr/>
        </p:nvSpPr>
        <p:spPr>
          <a:xfrm>
            <a:off x="8119884" y="5557913"/>
            <a:ext cx="32176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 defTabSz="914400">
              <a:spcBef>
                <a:spcPts val="0"/>
              </a:spcBef>
              <a:buNone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620013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2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RCORSI DI LAUREA</a:t>
            </a:r>
          </a:p>
        </p:txBody>
      </p:sp>
      <p:sp>
        <p:nvSpPr>
          <p:cNvPr id="646" name="Rettangolo 79">
            <a:extLst>
              <a:ext uri="{FF2B5EF4-FFF2-40B4-BE49-F238E27FC236}">
                <a16:creationId xmlns:a16="http://schemas.microsoft.com/office/drawing/2014/main" id="{202859AD-B3DE-4273-92A4-634FD8CC1623}"/>
              </a:ext>
            </a:extLst>
          </p:cNvPr>
          <p:cNvSpPr/>
          <p:nvPr/>
        </p:nvSpPr>
        <p:spPr>
          <a:xfrm>
            <a:off x="2836" y="5963196"/>
            <a:ext cx="26563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>
              <a:buNone/>
              <a:defRPr/>
            </a:pPr>
            <a:r>
              <a:rPr lang="it-IT" sz="1400" b="1" cap="small" dirty="0">
                <a:solidFill>
                  <a:schemeClr val="bg1"/>
                </a:solidFill>
                <a:highlight>
                  <a:srgbClr val="620013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~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620013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25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620013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STER DI I LIVELLO</a:t>
            </a:r>
          </a:p>
        </p:txBody>
      </p:sp>
      <p:sp>
        <p:nvSpPr>
          <p:cNvPr id="647" name="Rettangolo 79">
            <a:extLst>
              <a:ext uri="{FF2B5EF4-FFF2-40B4-BE49-F238E27FC236}">
                <a16:creationId xmlns:a16="http://schemas.microsoft.com/office/drawing/2014/main" id="{308BB7D7-DBE0-4747-A3F7-D1FA996B0E21}"/>
              </a:ext>
            </a:extLst>
          </p:cNvPr>
          <p:cNvSpPr/>
          <p:nvPr/>
        </p:nvSpPr>
        <p:spPr>
          <a:xfrm>
            <a:off x="2644591" y="5965669"/>
            <a:ext cx="26131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>
              <a:buNone/>
              <a:defRPr/>
            </a:pPr>
            <a:r>
              <a:rPr lang="it-IT" sz="1400" b="1" cap="small" dirty="0">
                <a:solidFill>
                  <a:schemeClr val="bg1"/>
                </a:solidFill>
                <a:highlight>
                  <a:srgbClr val="620013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~ </a:t>
            </a:r>
            <a:r>
              <a:rPr lang="it-IT" sz="1400" b="1" dirty="0">
                <a:solidFill>
                  <a:schemeClr val="bg1"/>
                </a:solidFill>
                <a:highlight>
                  <a:srgbClr val="620013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50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MASTER DI II LIVELLO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8" name="Rettangolo 79">
            <a:extLst>
              <a:ext uri="{FF2B5EF4-FFF2-40B4-BE49-F238E27FC236}">
                <a16:creationId xmlns:a16="http://schemas.microsoft.com/office/drawing/2014/main" id="{FD9D4EC4-5134-4B00-BDE1-AE54D48A1E08}"/>
              </a:ext>
            </a:extLst>
          </p:cNvPr>
          <p:cNvSpPr/>
          <p:nvPr/>
        </p:nvSpPr>
        <p:spPr>
          <a:xfrm>
            <a:off x="5257769" y="5961090"/>
            <a:ext cx="25179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>
              <a:buNone/>
              <a:defRPr/>
            </a:pPr>
            <a:r>
              <a:rPr lang="it-IT" sz="1400" b="1" cap="small" dirty="0">
                <a:solidFill>
                  <a:schemeClr val="bg1"/>
                </a:solidFill>
                <a:highlight>
                  <a:srgbClr val="620013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~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620013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30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TA FORMAZIONE &amp; FORMAZIONE</a:t>
            </a:r>
          </a:p>
        </p:txBody>
      </p:sp>
      <p:sp>
        <p:nvSpPr>
          <p:cNvPr id="649" name="Rettangolo 79">
            <a:extLst>
              <a:ext uri="{FF2B5EF4-FFF2-40B4-BE49-F238E27FC236}">
                <a16:creationId xmlns:a16="http://schemas.microsoft.com/office/drawing/2014/main" id="{400D8820-5472-463C-BDC6-97DFF5734E81}"/>
              </a:ext>
            </a:extLst>
          </p:cNvPr>
          <p:cNvSpPr/>
          <p:nvPr/>
        </p:nvSpPr>
        <p:spPr>
          <a:xfrm>
            <a:off x="7775699" y="5968094"/>
            <a:ext cx="198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>
              <a:buNone/>
              <a:defRPr/>
            </a:pPr>
            <a:r>
              <a:rPr lang="it-IT" sz="1400" b="1" cap="small" dirty="0">
                <a:solidFill>
                  <a:schemeClr val="bg1"/>
                </a:solidFill>
                <a:highlight>
                  <a:srgbClr val="620013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~</a:t>
            </a:r>
            <a:r>
              <a:rPr lang="it-IT" sz="1400" b="1" dirty="0">
                <a:solidFill>
                  <a:schemeClr val="bg1"/>
                </a:solidFill>
                <a:highlight>
                  <a:srgbClr val="620013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420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620013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SAMI SINGOLI</a:t>
            </a:r>
          </a:p>
        </p:txBody>
      </p:sp>
      <p:sp>
        <p:nvSpPr>
          <p:cNvPr id="650" name="Rettangolo 79">
            <a:extLst>
              <a:ext uri="{FF2B5EF4-FFF2-40B4-BE49-F238E27FC236}">
                <a16:creationId xmlns:a16="http://schemas.microsoft.com/office/drawing/2014/main" id="{D61F9C24-61CD-4904-8CEF-F4B3160FA970}"/>
              </a:ext>
            </a:extLst>
          </p:cNvPr>
          <p:cNvSpPr/>
          <p:nvPr/>
        </p:nvSpPr>
        <p:spPr>
          <a:xfrm>
            <a:off x="9868064" y="5960723"/>
            <a:ext cx="22626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>
              <a:buNone/>
              <a:defRPr/>
            </a:pPr>
            <a:r>
              <a:rPr lang="it-IT" sz="1400" b="1" cap="small" dirty="0">
                <a:solidFill>
                  <a:schemeClr val="bg1"/>
                </a:solidFill>
                <a:highlight>
                  <a:srgbClr val="620013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~</a:t>
            </a:r>
            <a:r>
              <a:rPr lang="it-IT" sz="1400" b="1" dirty="0">
                <a:solidFill>
                  <a:schemeClr val="bg1"/>
                </a:solidFill>
                <a:highlight>
                  <a:srgbClr val="620013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RFEZIONAMENTI</a:t>
            </a:r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A644367F-F99E-4733-9011-1E0DB4787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sz="2133" dirty="0"/>
              <a:t>Un offerta formativa eterogenea ed integrata proposta da 3 Atenei con focus distinti e complementari che si contraddistingue come la più ampia sul mercato</a:t>
            </a:r>
            <a:r>
              <a:rPr lang="it-IT" sz="1600" baseline="30000" dirty="0"/>
              <a:t>1</a:t>
            </a:r>
            <a:endParaRPr lang="it-IT" sz="2070" baseline="30000" dirty="0"/>
          </a:p>
        </p:txBody>
      </p:sp>
      <p:sp>
        <p:nvSpPr>
          <p:cNvPr id="108" name="Rectangle 169">
            <a:extLst>
              <a:ext uri="{FF2B5EF4-FFF2-40B4-BE49-F238E27FC236}">
                <a16:creationId xmlns:a16="http://schemas.microsoft.com/office/drawing/2014/main" id="{6AA31C45-F7E4-4CE8-A664-E21F06BEB994}"/>
              </a:ext>
            </a:extLst>
          </p:cNvPr>
          <p:cNvSpPr/>
          <p:nvPr/>
        </p:nvSpPr>
        <p:spPr>
          <a:xfrm>
            <a:off x="5843918" y="1404997"/>
            <a:ext cx="523236" cy="31292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algn="ctr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urea magistrale</a:t>
            </a:r>
          </a:p>
        </p:txBody>
      </p:sp>
      <p:sp>
        <p:nvSpPr>
          <p:cNvPr id="109" name="Ovale 108">
            <a:extLst>
              <a:ext uri="{FF2B5EF4-FFF2-40B4-BE49-F238E27FC236}">
                <a16:creationId xmlns:a16="http://schemas.microsoft.com/office/drawing/2014/main" id="{FF90F10C-E3DF-4F60-AFC6-DF857484647B}"/>
              </a:ext>
            </a:extLst>
          </p:cNvPr>
          <p:cNvSpPr/>
          <p:nvPr/>
        </p:nvSpPr>
        <p:spPr>
          <a:xfrm>
            <a:off x="5877995" y="1646224"/>
            <a:ext cx="408074" cy="408074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539" name="Ovale 538">
            <a:extLst>
              <a:ext uri="{FF2B5EF4-FFF2-40B4-BE49-F238E27FC236}">
                <a16:creationId xmlns:a16="http://schemas.microsoft.com/office/drawing/2014/main" id="{1D193725-B684-4412-B1CE-BC21E938C279}"/>
              </a:ext>
            </a:extLst>
          </p:cNvPr>
          <p:cNvSpPr/>
          <p:nvPr/>
        </p:nvSpPr>
        <p:spPr>
          <a:xfrm>
            <a:off x="9868063" y="1646224"/>
            <a:ext cx="408074" cy="408074"/>
          </a:xfrm>
          <a:prstGeom prst="ellipse">
            <a:avLst/>
          </a:prstGeom>
          <a:solidFill>
            <a:srgbClr val="CC0000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02" name="Rectangle 181">
            <a:extLst>
              <a:ext uri="{FF2B5EF4-FFF2-40B4-BE49-F238E27FC236}">
                <a16:creationId xmlns:a16="http://schemas.microsoft.com/office/drawing/2014/main" id="{70202707-D8C3-42D2-AB02-CAFC682B4B5B}"/>
              </a:ext>
            </a:extLst>
          </p:cNvPr>
          <p:cNvSpPr/>
          <p:nvPr/>
        </p:nvSpPr>
        <p:spPr>
          <a:xfrm>
            <a:off x="7739018" y="3611743"/>
            <a:ext cx="665381" cy="24969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</a:t>
            </a:r>
          </a:p>
          <a:p>
            <a:pPr marL="0" indent="0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Livello</a:t>
            </a:r>
          </a:p>
        </p:txBody>
      </p:sp>
      <p:sp>
        <p:nvSpPr>
          <p:cNvPr id="103" name="Ovale 102">
            <a:extLst>
              <a:ext uri="{FF2B5EF4-FFF2-40B4-BE49-F238E27FC236}">
                <a16:creationId xmlns:a16="http://schemas.microsoft.com/office/drawing/2014/main" id="{1A0CC9E6-6D20-482D-8E2E-2CD64998509A}"/>
              </a:ext>
            </a:extLst>
          </p:cNvPr>
          <p:cNvSpPr/>
          <p:nvPr/>
        </p:nvSpPr>
        <p:spPr>
          <a:xfrm>
            <a:off x="7264930" y="3453367"/>
            <a:ext cx="408074" cy="408074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541" name="Ovale 540">
            <a:extLst>
              <a:ext uri="{FF2B5EF4-FFF2-40B4-BE49-F238E27FC236}">
                <a16:creationId xmlns:a16="http://schemas.microsoft.com/office/drawing/2014/main" id="{351FAFF9-7603-44F9-9DBE-D8634DB37EF2}"/>
              </a:ext>
            </a:extLst>
          </p:cNvPr>
          <p:cNvSpPr/>
          <p:nvPr/>
        </p:nvSpPr>
        <p:spPr>
          <a:xfrm>
            <a:off x="11225425" y="3453367"/>
            <a:ext cx="408074" cy="408074"/>
          </a:xfrm>
          <a:prstGeom prst="ellipse">
            <a:avLst/>
          </a:prstGeom>
          <a:solidFill>
            <a:srgbClr val="CC0000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104" name="Rectangle 181">
            <a:extLst>
              <a:ext uri="{FF2B5EF4-FFF2-40B4-BE49-F238E27FC236}">
                <a16:creationId xmlns:a16="http://schemas.microsoft.com/office/drawing/2014/main" id="{B8DB8246-A229-4C05-B44F-47068FF6E701}"/>
              </a:ext>
            </a:extLst>
          </p:cNvPr>
          <p:cNvSpPr/>
          <p:nvPr/>
        </p:nvSpPr>
        <p:spPr>
          <a:xfrm>
            <a:off x="7632338" y="2677928"/>
            <a:ext cx="665381" cy="24969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</a:t>
            </a:r>
          </a:p>
          <a:p>
            <a:pPr marL="0" indent="0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Livello</a:t>
            </a:r>
          </a:p>
        </p:txBody>
      </p:sp>
      <p:sp>
        <p:nvSpPr>
          <p:cNvPr id="105" name="Ovale 104">
            <a:extLst>
              <a:ext uri="{FF2B5EF4-FFF2-40B4-BE49-F238E27FC236}">
                <a16:creationId xmlns:a16="http://schemas.microsoft.com/office/drawing/2014/main" id="{CEFBB650-BC4E-49BC-898C-806AEFE1683E}"/>
              </a:ext>
            </a:extLst>
          </p:cNvPr>
          <p:cNvSpPr/>
          <p:nvPr/>
        </p:nvSpPr>
        <p:spPr>
          <a:xfrm>
            <a:off x="7158250" y="2594006"/>
            <a:ext cx="408074" cy="408074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</a:t>
            </a:r>
          </a:p>
        </p:txBody>
      </p:sp>
      <p:sp>
        <p:nvSpPr>
          <p:cNvPr id="106" name="Rectangle 181">
            <a:extLst>
              <a:ext uri="{FF2B5EF4-FFF2-40B4-BE49-F238E27FC236}">
                <a16:creationId xmlns:a16="http://schemas.microsoft.com/office/drawing/2014/main" id="{EF5E0D40-4B50-44EA-91AC-B42C22417662}"/>
              </a:ext>
            </a:extLst>
          </p:cNvPr>
          <p:cNvSpPr/>
          <p:nvPr/>
        </p:nvSpPr>
        <p:spPr>
          <a:xfrm>
            <a:off x="11503298" y="2677928"/>
            <a:ext cx="665381" cy="24969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ter</a:t>
            </a:r>
          </a:p>
          <a:p>
            <a:pPr marL="0" indent="0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Livello</a:t>
            </a:r>
          </a:p>
        </p:txBody>
      </p:sp>
      <p:sp>
        <p:nvSpPr>
          <p:cNvPr id="107" name="Ovale 106">
            <a:extLst>
              <a:ext uri="{FF2B5EF4-FFF2-40B4-BE49-F238E27FC236}">
                <a16:creationId xmlns:a16="http://schemas.microsoft.com/office/drawing/2014/main" id="{CED48E53-F0CA-4D4A-AA0C-C14976D29B1F}"/>
              </a:ext>
            </a:extLst>
          </p:cNvPr>
          <p:cNvSpPr/>
          <p:nvPr/>
        </p:nvSpPr>
        <p:spPr>
          <a:xfrm>
            <a:off x="11048260" y="2594006"/>
            <a:ext cx="408074" cy="408074"/>
          </a:xfrm>
          <a:prstGeom prst="ellipse">
            <a:avLst/>
          </a:prstGeom>
          <a:solidFill>
            <a:srgbClr val="CC0000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111" name="Rectangle 180">
            <a:extLst>
              <a:ext uri="{FF2B5EF4-FFF2-40B4-BE49-F238E27FC236}">
                <a16:creationId xmlns:a16="http://schemas.microsoft.com/office/drawing/2014/main" id="{E4942C0F-C49C-42B7-83BE-279F625163BE}"/>
              </a:ext>
            </a:extLst>
          </p:cNvPr>
          <p:cNvSpPr/>
          <p:nvPr/>
        </p:nvSpPr>
        <p:spPr>
          <a:xfrm>
            <a:off x="6054849" y="5067240"/>
            <a:ext cx="575432" cy="24969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algn="ctr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mi </a:t>
            </a:r>
          </a:p>
          <a:p>
            <a:pPr marL="0" indent="0" algn="ctr" defTabSz="830278">
              <a:spcBef>
                <a:spcPts val="0"/>
              </a:spcBef>
              <a:buNone/>
              <a:defRPr/>
            </a:pP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oli</a:t>
            </a:r>
          </a:p>
        </p:txBody>
      </p:sp>
      <p:sp>
        <p:nvSpPr>
          <p:cNvPr id="112" name="Ovale 111">
            <a:extLst>
              <a:ext uri="{FF2B5EF4-FFF2-40B4-BE49-F238E27FC236}">
                <a16:creationId xmlns:a16="http://schemas.microsoft.com/office/drawing/2014/main" id="{593815DE-22DE-4E74-A445-300479401F60}"/>
              </a:ext>
            </a:extLst>
          </p:cNvPr>
          <p:cNvSpPr/>
          <p:nvPr/>
        </p:nvSpPr>
        <p:spPr>
          <a:xfrm>
            <a:off x="6141080" y="4617103"/>
            <a:ext cx="408074" cy="408074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1</a:t>
            </a:r>
          </a:p>
        </p:txBody>
      </p:sp>
      <p:sp>
        <p:nvSpPr>
          <p:cNvPr id="545" name="Ovale 544">
            <a:extLst>
              <a:ext uri="{FF2B5EF4-FFF2-40B4-BE49-F238E27FC236}">
                <a16:creationId xmlns:a16="http://schemas.microsoft.com/office/drawing/2014/main" id="{E717B639-2F2A-4551-B78F-2FDFD242516C}"/>
              </a:ext>
            </a:extLst>
          </p:cNvPr>
          <p:cNvSpPr/>
          <p:nvPr/>
        </p:nvSpPr>
        <p:spPr>
          <a:xfrm>
            <a:off x="10217780" y="4617103"/>
            <a:ext cx="408074" cy="408074"/>
          </a:xfrm>
          <a:prstGeom prst="ellipse">
            <a:avLst/>
          </a:prstGeom>
          <a:solidFill>
            <a:schemeClr val="accent3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13" name="Rectangle 187">
            <a:extLst>
              <a:ext uri="{FF2B5EF4-FFF2-40B4-BE49-F238E27FC236}">
                <a16:creationId xmlns:a16="http://schemas.microsoft.com/office/drawing/2014/main" id="{FF2B8FD9-2EF2-4137-BBD9-02838C2AB035}"/>
              </a:ext>
            </a:extLst>
          </p:cNvPr>
          <p:cNvSpPr/>
          <p:nvPr/>
        </p:nvSpPr>
        <p:spPr>
          <a:xfrm>
            <a:off x="5078003" y="4977497"/>
            <a:ext cx="543204" cy="16574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indent="0" algn="ctr" defTabSz="830278">
              <a:spcBef>
                <a:spcPts val="0"/>
              </a:spcBef>
              <a:buNone/>
              <a:defRPr/>
            </a:pPr>
            <a:r>
              <a:rPr lang="it-IT" sz="700" cap="small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.d</a:t>
            </a:r>
            <a:r>
              <a:rPr lang="it-IT" sz="7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it-IT" sz="700" cap="small" baseline="30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Ovale 113">
            <a:extLst>
              <a:ext uri="{FF2B5EF4-FFF2-40B4-BE49-F238E27FC236}">
                <a16:creationId xmlns:a16="http://schemas.microsoft.com/office/drawing/2014/main" id="{0FBBAD10-AA7D-42C6-9995-0A059585BE48}"/>
              </a:ext>
            </a:extLst>
          </p:cNvPr>
          <p:cNvSpPr/>
          <p:nvPr/>
        </p:nvSpPr>
        <p:spPr>
          <a:xfrm>
            <a:off x="5133888" y="4525497"/>
            <a:ext cx="408074" cy="408074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  <a:miter lim="800000"/>
          </a:ln>
          <a:effectLst>
            <a:outerShdw blurRad="127000" dist="25400" dir="5400000" algn="ctr" rotWithShape="0">
              <a:schemeClr val="tx1">
                <a:alpha val="20000"/>
              </a:schemeClr>
            </a:outerShdw>
          </a:effectLst>
        </p:spPr>
        <p:txBody>
          <a:bodyPr vert="horz" lIns="0" tIns="0" rIns="0" bIns="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600"/>
              </a:spcBef>
              <a:buNone/>
            </a:pPr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15" name="Rettangolo 79">
            <a:extLst>
              <a:ext uri="{FF2B5EF4-FFF2-40B4-BE49-F238E27FC236}">
                <a16:creationId xmlns:a16="http://schemas.microsoft.com/office/drawing/2014/main" id="{EF525945-8A9E-431E-B093-296A4D6F8557}"/>
              </a:ext>
            </a:extLst>
          </p:cNvPr>
          <p:cNvSpPr/>
          <p:nvPr/>
        </p:nvSpPr>
        <p:spPr>
          <a:xfrm>
            <a:off x="10962741" y="5552375"/>
            <a:ext cx="11228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defTabSz="914400">
              <a:spcBef>
                <a:spcPts val="0"/>
              </a:spcBef>
              <a:buNone/>
              <a:defRPr/>
            </a:pPr>
            <a:r>
              <a:rPr lang="it-IT" sz="1400" b="1" dirty="0">
                <a:solidFill>
                  <a:schemeClr val="bg1"/>
                </a:solidFill>
                <a:highlight>
                  <a:srgbClr val="620013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620013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H.D</a:t>
            </a:r>
          </a:p>
        </p:txBody>
      </p:sp>
      <p:sp>
        <p:nvSpPr>
          <p:cNvPr id="149" name="object 4">
            <a:extLst>
              <a:ext uri="{FF2B5EF4-FFF2-40B4-BE49-F238E27FC236}">
                <a16:creationId xmlns:a16="http://schemas.microsoft.com/office/drawing/2014/main" id="{62A5D1BE-209D-40C5-A6D0-E2509EB34E58}"/>
              </a:ext>
            </a:extLst>
          </p:cNvPr>
          <p:cNvSpPr txBox="1"/>
          <p:nvPr/>
        </p:nvSpPr>
        <p:spPr>
          <a:xfrm>
            <a:off x="1635835" y="6573284"/>
            <a:ext cx="6365165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0" indent="0">
              <a:lnSpc>
                <a:spcPct val="100000"/>
              </a:lnSpc>
              <a:spcBef>
                <a:spcPts val="100"/>
              </a:spcBef>
              <a:buNone/>
            </a:pPr>
            <a:r>
              <a:rPr lang="it-IT" sz="800" i="1" spc="-5" dirty="0">
                <a:latin typeface="+mj-lt"/>
                <a:cs typeface="Calibri"/>
              </a:rPr>
              <a:t>Note: (1) non è inclusa l’offerta formativa di Pegaso International che al momento costituita da 4 corsi di Laurea Triennale, 2 corsi di Laurea Magistrale, 1 </a:t>
            </a:r>
            <a:r>
              <a:rPr lang="it-IT" sz="800" i="1" spc="-5" dirty="0" err="1">
                <a:latin typeface="+mj-lt"/>
                <a:cs typeface="Calibri"/>
              </a:rPr>
              <a:t>PhD</a:t>
            </a:r>
            <a:r>
              <a:rPr lang="it-IT" sz="800" i="1" spc="-5" dirty="0">
                <a:latin typeface="+mj-lt"/>
                <a:cs typeface="Calibri"/>
              </a:rPr>
              <a:t> e 4 tra master e corsi di alta formazione</a:t>
            </a:r>
            <a:endParaRPr sz="800" dirty="0"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84629009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6" name="btfpColumnIndicatorGroup2">
            <a:extLst>
              <a:ext uri="{FF2B5EF4-FFF2-40B4-BE49-F238E27FC236}">
                <a16:creationId xmlns:a16="http://schemas.microsoft.com/office/drawing/2014/main" id="{1C698878-55CE-4BF7-94D3-2A449D6AA120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0" y="6926580"/>
            <a:ext cx="12192000" cy="137160"/>
            <a:chOff x="0" y="5194935"/>
            <a:chExt cx="9144000" cy="102870"/>
          </a:xfrm>
        </p:grpSpPr>
        <p:sp>
          <p:nvSpPr>
            <p:cNvPr id="212" name="btfpColumnGapBlocker406537">
              <a:extLst>
                <a:ext uri="{FF2B5EF4-FFF2-40B4-BE49-F238E27FC236}">
                  <a16:creationId xmlns:a16="http://schemas.microsoft.com/office/drawing/2014/main" id="{898266EA-018F-4FA2-88A4-9FCDA2A0EC2A}"/>
                </a:ext>
              </a:extLst>
            </p:cNvPr>
            <p:cNvSpPr/>
            <p:nvPr>
              <p:custDataLst>
                <p:tags r:id="rId39"/>
              </p:custDataLst>
            </p:nvPr>
          </p:nvSpPr>
          <p:spPr bwMode="gray">
            <a:xfrm>
              <a:off x="8890000" y="5194935"/>
              <a:ext cx="254000" cy="10287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ct val="0"/>
                </a:spcBef>
                <a:buNone/>
              </a:pPr>
              <a:endParaRPr lang="it-IT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10" name="btfpColumnGapBlocker444690">
              <a:extLst>
                <a:ext uri="{FF2B5EF4-FFF2-40B4-BE49-F238E27FC236}">
                  <a16:creationId xmlns:a16="http://schemas.microsoft.com/office/drawing/2014/main" id="{789EAA68-A410-494C-82A7-F2719906BC3B}"/>
                </a:ext>
              </a:extLst>
            </p:cNvPr>
            <p:cNvSpPr/>
            <p:nvPr>
              <p:custDataLst>
                <p:tags r:id="rId40"/>
              </p:custDataLst>
            </p:nvPr>
          </p:nvSpPr>
          <p:spPr bwMode="gray">
            <a:xfrm>
              <a:off x="4301728" y="5194935"/>
              <a:ext cx="540544" cy="10287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ct val="0"/>
                </a:spcBef>
                <a:buNone/>
              </a:pPr>
              <a:endParaRPr lang="it-IT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208" name="btfpColumnIndicator498775">
              <a:extLst>
                <a:ext uri="{FF2B5EF4-FFF2-40B4-BE49-F238E27FC236}">
                  <a16:creationId xmlns:a16="http://schemas.microsoft.com/office/drawing/2014/main" id="{FD042F44-C752-4B71-B380-0DA58421B7A3}"/>
                </a:ext>
              </a:extLst>
            </p:cNvPr>
            <p:cNvCxnSpPr/>
            <p:nvPr>
              <p:custDataLst>
                <p:tags r:id="rId41"/>
              </p:custDataLst>
            </p:nvPr>
          </p:nvCxnSpPr>
          <p:spPr bwMode="gray">
            <a:xfrm flipH="1" flipV="1">
              <a:off x="8890000" y="5194935"/>
              <a:ext cx="0" cy="10287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btfpColumnIndicator927588">
              <a:extLst>
                <a:ext uri="{FF2B5EF4-FFF2-40B4-BE49-F238E27FC236}">
                  <a16:creationId xmlns:a16="http://schemas.microsoft.com/office/drawing/2014/main" id="{7538245D-7999-4C0B-8363-3F2962F30CDE}"/>
                </a:ext>
              </a:extLst>
            </p:cNvPr>
            <p:cNvCxnSpPr/>
            <p:nvPr>
              <p:custDataLst>
                <p:tags r:id="rId42"/>
              </p:custDataLst>
            </p:nvPr>
          </p:nvCxnSpPr>
          <p:spPr bwMode="gray">
            <a:xfrm flipH="1" flipV="1">
              <a:off x="4842272" y="5194935"/>
              <a:ext cx="0" cy="10287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btfpColumnGapBlocker425336">
              <a:extLst>
                <a:ext uri="{FF2B5EF4-FFF2-40B4-BE49-F238E27FC236}">
                  <a16:creationId xmlns:a16="http://schemas.microsoft.com/office/drawing/2014/main" id="{6F6850BB-9722-42AF-A170-4AEFF289CFC9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 bwMode="gray">
            <a:xfrm>
              <a:off x="0" y="5194935"/>
              <a:ext cx="254000" cy="10287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ct val="0"/>
                </a:spcBef>
                <a:buNone/>
              </a:pPr>
              <a:endParaRPr lang="it-IT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201" name="btfpColumnIndicator596027">
              <a:extLst>
                <a:ext uri="{FF2B5EF4-FFF2-40B4-BE49-F238E27FC236}">
                  <a16:creationId xmlns:a16="http://schemas.microsoft.com/office/drawing/2014/main" id="{33773380-9C60-402D-9779-9663610B2DC6}"/>
                </a:ext>
              </a:extLst>
            </p:cNvPr>
            <p:cNvCxnSpPr/>
            <p:nvPr>
              <p:custDataLst>
                <p:tags r:id="rId44"/>
              </p:custDataLst>
            </p:nvPr>
          </p:nvCxnSpPr>
          <p:spPr bwMode="gray">
            <a:xfrm flipH="1" flipV="1">
              <a:off x="4301728" y="5194935"/>
              <a:ext cx="0" cy="10287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btfpColumnIndicator105851">
              <a:extLst>
                <a:ext uri="{FF2B5EF4-FFF2-40B4-BE49-F238E27FC236}">
                  <a16:creationId xmlns:a16="http://schemas.microsoft.com/office/drawing/2014/main" id="{287B1752-F4B1-49B9-8D5F-EB56182DA0CA}"/>
                </a:ext>
              </a:extLst>
            </p:cNvPr>
            <p:cNvCxnSpPr/>
            <p:nvPr>
              <p:custDataLst>
                <p:tags r:id="rId45"/>
              </p:custDataLst>
            </p:nvPr>
          </p:nvCxnSpPr>
          <p:spPr bwMode="gray">
            <a:xfrm flipH="1" flipV="1">
              <a:off x="254000" y="5194935"/>
              <a:ext cx="0" cy="10287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5" name="btfpColumnIndicatorGroup1">
            <a:extLst>
              <a:ext uri="{FF2B5EF4-FFF2-40B4-BE49-F238E27FC236}">
                <a16:creationId xmlns:a16="http://schemas.microsoft.com/office/drawing/2014/main" id="{D6B5EBA3-2E69-444C-8463-A2A8765279E8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0" y="-205740"/>
            <a:ext cx="12192000" cy="137160"/>
            <a:chOff x="0" y="-154305"/>
            <a:chExt cx="9144000" cy="102870"/>
          </a:xfrm>
        </p:grpSpPr>
        <p:sp>
          <p:nvSpPr>
            <p:cNvPr id="211" name="btfpColumnGapBlocker443005">
              <a:extLst>
                <a:ext uri="{FF2B5EF4-FFF2-40B4-BE49-F238E27FC236}">
                  <a16:creationId xmlns:a16="http://schemas.microsoft.com/office/drawing/2014/main" id="{64A45AAC-5C65-4AA8-AB3C-43FC9CF37B1B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8890000" y="-154305"/>
              <a:ext cx="254000" cy="10287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ct val="0"/>
                </a:spcBef>
                <a:buNone/>
              </a:pPr>
              <a:endParaRPr lang="it-IT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9" name="btfpColumnGapBlocker920385">
              <a:extLst>
                <a:ext uri="{FF2B5EF4-FFF2-40B4-BE49-F238E27FC236}">
                  <a16:creationId xmlns:a16="http://schemas.microsoft.com/office/drawing/2014/main" id="{302758DF-918D-471B-82F0-35DACA7B9D96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 bwMode="gray">
            <a:xfrm>
              <a:off x="4301728" y="-154305"/>
              <a:ext cx="540544" cy="10287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ct val="0"/>
                </a:spcBef>
                <a:buNone/>
              </a:pPr>
              <a:endParaRPr lang="it-IT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207" name="btfpColumnIndicator641645">
              <a:extLst>
                <a:ext uri="{FF2B5EF4-FFF2-40B4-BE49-F238E27FC236}">
                  <a16:creationId xmlns:a16="http://schemas.microsoft.com/office/drawing/2014/main" id="{D6A94FF7-D58F-492E-87D3-505039EA49F9}"/>
                </a:ext>
              </a:extLst>
            </p:cNvPr>
            <p:cNvCxnSpPr/>
            <p:nvPr>
              <p:custDataLst>
                <p:tags r:id="rId34"/>
              </p:custDataLst>
            </p:nvPr>
          </p:nvCxnSpPr>
          <p:spPr bwMode="gray">
            <a:xfrm flipH="1" flipV="1">
              <a:off x="8890000" y="-154305"/>
              <a:ext cx="0" cy="10287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btfpColumnIndicator687257">
              <a:extLst>
                <a:ext uri="{FF2B5EF4-FFF2-40B4-BE49-F238E27FC236}">
                  <a16:creationId xmlns:a16="http://schemas.microsoft.com/office/drawing/2014/main" id="{4759AC1B-BB82-4212-9745-6101D07C5468}"/>
                </a:ext>
              </a:extLst>
            </p:cNvPr>
            <p:cNvCxnSpPr/>
            <p:nvPr>
              <p:custDataLst>
                <p:tags r:id="rId35"/>
              </p:custDataLst>
            </p:nvPr>
          </p:nvCxnSpPr>
          <p:spPr bwMode="gray">
            <a:xfrm flipH="1" flipV="1">
              <a:off x="4842272" y="-154305"/>
              <a:ext cx="0" cy="10287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2" name="btfpColumnGapBlocker919097">
              <a:extLst>
                <a:ext uri="{FF2B5EF4-FFF2-40B4-BE49-F238E27FC236}">
                  <a16:creationId xmlns:a16="http://schemas.microsoft.com/office/drawing/2014/main" id="{B2DBA2B9-0A85-4B43-AF20-DDC3D208C33B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 bwMode="gray">
            <a:xfrm>
              <a:off x="0" y="-154305"/>
              <a:ext cx="254000" cy="102870"/>
            </a:xfrm>
            <a:prstGeom prst="rect">
              <a:avLst/>
            </a:prstGeom>
            <a:pattFill prst="ltUpDiag">
              <a:fgClr>
                <a:srgbClr val="333333">
                  <a:alpha val="25000"/>
                </a:srgbClr>
              </a:fgClr>
              <a:bgClr>
                <a:srgbClr val="FFFFFF">
                  <a:alpha val="25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ct val="0"/>
                </a:spcBef>
                <a:buNone/>
              </a:pPr>
              <a:endParaRPr lang="it-IT" b="1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cxnSp>
          <p:nvCxnSpPr>
            <p:cNvPr id="200" name="btfpColumnIndicator712893">
              <a:extLst>
                <a:ext uri="{FF2B5EF4-FFF2-40B4-BE49-F238E27FC236}">
                  <a16:creationId xmlns:a16="http://schemas.microsoft.com/office/drawing/2014/main" id="{191D73FF-D788-4416-91E2-37E62ED3BCED}"/>
                </a:ext>
              </a:extLst>
            </p:cNvPr>
            <p:cNvCxnSpPr/>
            <p:nvPr>
              <p:custDataLst>
                <p:tags r:id="rId37"/>
              </p:custDataLst>
            </p:nvPr>
          </p:nvCxnSpPr>
          <p:spPr bwMode="gray">
            <a:xfrm flipH="1" flipV="1">
              <a:off x="4301728" y="-154305"/>
              <a:ext cx="0" cy="10287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btfpColumnIndicator142097">
              <a:extLst>
                <a:ext uri="{FF2B5EF4-FFF2-40B4-BE49-F238E27FC236}">
                  <a16:creationId xmlns:a16="http://schemas.microsoft.com/office/drawing/2014/main" id="{D71B5578-F55B-4E69-9E07-2D8BD29FA28E}"/>
                </a:ext>
              </a:extLst>
            </p:cNvPr>
            <p:cNvCxnSpPr/>
            <p:nvPr>
              <p:custDataLst>
                <p:tags r:id="rId38"/>
              </p:custDataLst>
            </p:nvPr>
          </p:nvCxnSpPr>
          <p:spPr bwMode="gray">
            <a:xfrm flipH="1" flipV="1">
              <a:off x="254000" y="-154305"/>
              <a:ext cx="0" cy="102870"/>
            </a:xfrm>
            <a:prstGeom prst="line">
              <a:avLst/>
            </a:prstGeom>
            <a:ln w="3175" cap="flat" cmpd="sng" algn="ctr">
              <a:solidFill>
                <a:srgbClr val="B4B4B4">
                  <a:alpha val="25000"/>
                </a:srgbClr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04125224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Diapositiva think-cell" r:id="rId47" imgW="0" imgH="0" progId="TCLayout.ActiveDocument.1">
                  <p:embed/>
                </p:oleObj>
              </mc:Choice>
              <mc:Fallback>
                <p:oleObj name="Diapositiva think-cell" r:id="rId47" imgW="0" imgH="0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Rectangle 75">
            <a:extLst>
              <a:ext uri="{FF2B5EF4-FFF2-40B4-BE49-F238E27FC236}">
                <a16:creationId xmlns:a16="http://schemas.microsoft.com/office/drawing/2014/main" id="{887EADD6-A650-4C2C-A943-B7C1CC82D19A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417044" y="1815308"/>
            <a:ext cx="4719329" cy="4539248"/>
          </a:xfrm>
          <a:prstGeom prst="rect">
            <a:avLst/>
          </a:prstGeom>
          <a:solidFill>
            <a:srgbClr val="D6D6D6">
              <a:alpha val="10000"/>
            </a:srgbClr>
          </a:solidFill>
          <a:ln w="9525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457200" indent="-457200" algn="ctr">
              <a:buFont typeface="+mj-lt"/>
              <a:buAutoNum type="arabicPeriod"/>
            </a:pPr>
            <a:endParaRPr lang="it-IT" sz="2133">
              <a:solidFill>
                <a:srgbClr val="000000"/>
              </a:solidFill>
            </a:endParaRPr>
          </a:p>
        </p:txBody>
      </p:sp>
      <p:sp>
        <p:nvSpPr>
          <p:cNvPr id="87" name="btfpBulletedList619610">
            <a:extLst>
              <a:ext uri="{FF2B5EF4-FFF2-40B4-BE49-F238E27FC236}">
                <a16:creationId xmlns:a16="http://schemas.microsoft.com/office/drawing/2014/main" id="{0E7942DC-E2CB-4E65-96E5-C1D3EECB425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17044" y="1841537"/>
            <a:ext cx="4719329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it-IT" sz="1400" b="1" dirty="0">
                <a:solidFill>
                  <a:srgbClr val="620013"/>
                </a:solidFill>
              </a:rPr>
              <a:t>AGIDAE</a:t>
            </a:r>
            <a:r>
              <a:rPr lang="it-IT" sz="1400" dirty="0">
                <a:solidFill>
                  <a:srgbClr val="000000"/>
                </a:solidFill>
              </a:rPr>
              <a:t> si andrà divenire un </a:t>
            </a:r>
            <a:r>
              <a:rPr lang="it-IT" sz="1400" b="1" dirty="0">
                <a:solidFill>
                  <a:srgbClr val="620013"/>
                </a:solidFill>
              </a:rPr>
              <a:t>polo didattico </a:t>
            </a:r>
            <a:r>
              <a:rPr lang="it-IT" sz="1400" dirty="0">
                <a:solidFill>
                  <a:srgbClr val="000000"/>
                </a:solidFill>
              </a:rPr>
              <a:t>(</a:t>
            </a:r>
            <a:r>
              <a:rPr lang="it-IT" sz="1400" b="1" dirty="0">
                <a:solidFill>
                  <a:srgbClr val="620013"/>
                </a:solidFill>
              </a:rPr>
              <a:t>ECP</a:t>
            </a:r>
            <a:r>
              <a:rPr lang="it-IT" sz="1400" dirty="0">
                <a:solidFill>
                  <a:srgbClr val="000000"/>
                </a:solidFill>
              </a:rPr>
              <a:t>), cioè un </a:t>
            </a:r>
            <a:r>
              <a:rPr lang="it-IT" sz="1400" b="1" dirty="0">
                <a:solidFill>
                  <a:srgbClr val="620013"/>
                </a:solidFill>
              </a:rPr>
              <a:t>centro qualificato d’orientamento</a:t>
            </a:r>
            <a:r>
              <a:rPr lang="it-IT" sz="1400" dirty="0">
                <a:solidFill>
                  <a:srgbClr val="000000"/>
                </a:solidFill>
              </a:rPr>
              <a:t> per lo svolgimento di progetti didattici e formativi legati all’attività principale e alla mission di formazione di Multiversity</a:t>
            </a:r>
          </a:p>
          <a:p>
            <a:pPr marL="342900" indent="-342900">
              <a:buFont typeface="+mj-lt"/>
              <a:buAutoNum type="arabicPeriod"/>
            </a:pPr>
            <a:r>
              <a:rPr lang="it-IT" sz="1400" b="1" dirty="0">
                <a:solidFill>
                  <a:srgbClr val="620013"/>
                </a:solidFill>
              </a:rPr>
              <a:t>A tutti gli associati AGIDAE sarà riservata un’agevolazione economica </a:t>
            </a:r>
            <a:r>
              <a:rPr lang="it-IT" sz="1400" dirty="0">
                <a:solidFill>
                  <a:srgbClr val="000000"/>
                </a:solidFill>
              </a:rPr>
              <a:t>atta ad favorire l’accesso alla formazione specialistica ed universitaria, l’inclusione sociale e contrastare ogni tipo di disuguaglianza</a:t>
            </a:r>
          </a:p>
          <a:p>
            <a:pPr algn="ctr"/>
            <a:endParaRPr lang="it-IT" b="1" dirty="0">
              <a:solidFill>
                <a:srgbClr val="C00000"/>
              </a:solidFill>
              <a:latin typeface="+mj-lt"/>
            </a:endParaRPr>
          </a:p>
        </p:txBody>
      </p:sp>
      <p:pic>
        <p:nvPicPr>
          <p:cNvPr id="89" name="Picture 2" descr="Il grande successo di Multiversity, gruppo leader in Europa nel settore  dell'e-learning - Orizzonte Università">
            <a:extLst>
              <a:ext uri="{FF2B5EF4-FFF2-40B4-BE49-F238E27FC236}">
                <a16:creationId xmlns:a16="http://schemas.microsoft.com/office/drawing/2014/main" id="{143EDEA5-5DB3-446B-97D1-1BFC7D73F992}"/>
              </a:ext>
            </a:extLst>
          </p:cNvPr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4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29" t="5010" r="25580" b="14698"/>
          <a:stretch>
            <a:fillRect/>
          </a:stretch>
        </p:blipFill>
        <p:spPr bwMode="auto">
          <a:xfrm>
            <a:off x="813672" y="4467602"/>
            <a:ext cx="1850648" cy="1233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" name="Arrow: Chevron 111">
            <a:extLst>
              <a:ext uri="{FF2B5EF4-FFF2-40B4-BE49-F238E27FC236}">
                <a16:creationId xmlns:a16="http://schemas.microsoft.com/office/drawing/2014/main" id="{A11CC42B-6FD8-48E8-B752-2CE024174240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5471533" y="1815308"/>
            <a:ext cx="624465" cy="4539248"/>
          </a:xfrm>
          <a:prstGeom prst="chevron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it-IT" sz="2133">
              <a:solidFill>
                <a:schemeClr val="tx1"/>
              </a:solidFill>
            </a:endParaRPr>
          </a:p>
        </p:txBody>
      </p:sp>
      <p:grpSp>
        <p:nvGrpSpPr>
          <p:cNvPr id="114" name="btfpIcon211741">
            <a:extLst>
              <a:ext uri="{FF2B5EF4-FFF2-40B4-BE49-F238E27FC236}">
                <a16:creationId xmlns:a16="http://schemas.microsoft.com/office/drawing/2014/main" id="{F8296E95-7449-43B5-8B91-D315D438E455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6315926" y="1957969"/>
            <a:ext cx="680556" cy="680556"/>
            <a:chOff x="401334" y="3212566"/>
            <a:chExt cx="747302" cy="747302"/>
          </a:xfrm>
        </p:grpSpPr>
        <p:sp>
          <p:nvSpPr>
            <p:cNvPr id="115" name="btfpIconCircle211741">
              <a:extLst>
                <a:ext uri="{FF2B5EF4-FFF2-40B4-BE49-F238E27FC236}">
                  <a16:creationId xmlns:a16="http://schemas.microsoft.com/office/drawing/2014/main" id="{1C544E19-D06E-4833-AEC6-4E6C27ABAD9F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 bwMode="gray">
            <a:xfrm>
              <a:off x="401334" y="3212566"/>
              <a:ext cx="747302" cy="747302"/>
            </a:xfrm>
            <a:prstGeom prst="ellipse">
              <a:avLst/>
            </a:prstGeom>
            <a:solidFill>
              <a:srgbClr val="CC0000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2133">
                <a:solidFill>
                  <a:schemeClr val="tx1"/>
                </a:solidFill>
              </a:endParaRPr>
            </a:p>
          </p:txBody>
        </p:sp>
        <p:pic>
          <p:nvPicPr>
            <p:cNvPr id="116" name="btfpIconLines211741">
              <a:extLst>
                <a:ext uri="{FF2B5EF4-FFF2-40B4-BE49-F238E27FC236}">
                  <a16:creationId xmlns:a16="http://schemas.microsoft.com/office/drawing/2014/main" id="{4E9909F9-4D57-448E-BA8B-9087E6663CA6}"/>
                </a:ext>
              </a:extLst>
            </p:cNvPr>
            <p:cNvPicPr/>
            <p:nvPr>
              <p:custDataLst>
                <p:tags r:id="rId31"/>
              </p:custDataLst>
            </p:nvPr>
          </p:nvPicPr>
          <p:blipFill>
            <a:blip r:embed="rId5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1334" y="3212566"/>
              <a:ext cx="747302" cy="747302"/>
            </a:xfrm>
            <a:prstGeom prst="rect">
              <a:avLst/>
            </a:prstGeom>
          </p:spPr>
        </p:pic>
      </p:grpSp>
      <p:grpSp>
        <p:nvGrpSpPr>
          <p:cNvPr id="117" name="btfpIcon114559">
            <a:extLst>
              <a:ext uri="{FF2B5EF4-FFF2-40B4-BE49-F238E27FC236}">
                <a16:creationId xmlns:a16="http://schemas.microsoft.com/office/drawing/2014/main" id="{0A27B242-4E6C-4C68-A57D-DCA458599BA3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6315926" y="2889274"/>
            <a:ext cx="680556" cy="680556"/>
            <a:chOff x="401334" y="4340820"/>
            <a:chExt cx="747302" cy="747302"/>
          </a:xfrm>
        </p:grpSpPr>
        <p:sp>
          <p:nvSpPr>
            <p:cNvPr id="118" name="btfpIconCircle114559">
              <a:extLst>
                <a:ext uri="{FF2B5EF4-FFF2-40B4-BE49-F238E27FC236}">
                  <a16:creationId xmlns:a16="http://schemas.microsoft.com/office/drawing/2014/main" id="{592488BF-E98F-470E-A8E9-A93FADF689EE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401334" y="4340820"/>
              <a:ext cx="747302" cy="747302"/>
            </a:xfrm>
            <a:prstGeom prst="ellipse">
              <a:avLst/>
            </a:prstGeom>
            <a:solidFill>
              <a:srgbClr val="CC0000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2133">
                <a:solidFill>
                  <a:schemeClr val="tx1"/>
                </a:solidFill>
              </a:endParaRPr>
            </a:p>
          </p:txBody>
        </p:sp>
        <p:pic>
          <p:nvPicPr>
            <p:cNvPr id="119" name="btfpIconLines114559">
              <a:extLst>
                <a:ext uri="{FF2B5EF4-FFF2-40B4-BE49-F238E27FC236}">
                  <a16:creationId xmlns:a16="http://schemas.microsoft.com/office/drawing/2014/main" id="{B21586BF-5118-4D54-B2FB-A69EB0436121}"/>
                </a:ext>
              </a:extLst>
            </p:cNvPr>
            <p:cNvPicPr/>
            <p:nvPr>
              <p:custDataLst>
                <p:tags r:id="rId29"/>
              </p:custDataLst>
            </p:nvPr>
          </p:nvPicPr>
          <p:blipFill>
            <a:blip r:embed="rId5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1334" y="4340820"/>
              <a:ext cx="747302" cy="747302"/>
            </a:xfrm>
            <a:prstGeom prst="rect">
              <a:avLst/>
            </a:prstGeom>
          </p:spPr>
        </p:pic>
      </p:grpSp>
      <p:grpSp>
        <p:nvGrpSpPr>
          <p:cNvPr id="124" name="btfpIcon597398">
            <a:extLst>
              <a:ext uri="{FF2B5EF4-FFF2-40B4-BE49-F238E27FC236}">
                <a16:creationId xmlns:a16="http://schemas.microsoft.com/office/drawing/2014/main" id="{DD1C52C2-7B05-4BD8-8A03-10D6F25D9921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6315926" y="3803640"/>
            <a:ext cx="680556" cy="680556"/>
            <a:chOff x="5717218" y="3050778"/>
            <a:chExt cx="1081088" cy="1081088"/>
          </a:xfrm>
        </p:grpSpPr>
        <p:sp>
          <p:nvSpPr>
            <p:cNvPr id="125" name="btfpIconCircle597398">
              <a:extLst>
                <a:ext uri="{FF2B5EF4-FFF2-40B4-BE49-F238E27FC236}">
                  <a16:creationId xmlns:a16="http://schemas.microsoft.com/office/drawing/2014/main" id="{33F9A167-6EEE-4398-A5F3-DBC920B0727A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5717218" y="3050778"/>
              <a:ext cx="1081088" cy="1081088"/>
            </a:xfrm>
            <a:prstGeom prst="ellipse">
              <a:avLst/>
            </a:prstGeom>
            <a:solidFill>
              <a:srgbClr val="CC0000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2133">
                <a:solidFill>
                  <a:schemeClr val="tx1"/>
                </a:solidFill>
              </a:endParaRPr>
            </a:p>
          </p:txBody>
        </p:sp>
        <p:pic>
          <p:nvPicPr>
            <p:cNvPr id="126" name="btfpIconLines597398">
              <a:extLst>
                <a:ext uri="{FF2B5EF4-FFF2-40B4-BE49-F238E27FC236}">
                  <a16:creationId xmlns:a16="http://schemas.microsoft.com/office/drawing/2014/main" id="{39116F26-48D4-4DC1-BDCB-A44A8A7F1FFA}"/>
                </a:ext>
              </a:extLst>
            </p:cNvPr>
            <p:cNvPicPr/>
            <p:nvPr>
              <p:custDataLst>
                <p:tags r:id="rId27"/>
              </p:custDataLst>
            </p:nvPr>
          </p:nvPicPr>
          <p:blipFill>
            <a:blip r:embed="rId52"/>
            <a:stretch>
              <a:fillRect/>
            </a:stretch>
          </p:blipFill>
          <p:spPr>
            <a:xfrm>
              <a:off x="5717218" y="3050778"/>
              <a:ext cx="1081088" cy="1081088"/>
            </a:xfrm>
            <a:prstGeom prst="rect">
              <a:avLst/>
            </a:prstGeom>
          </p:spPr>
        </p:pic>
      </p:grpSp>
      <p:grpSp>
        <p:nvGrpSpPr>
          <p:cNvPr id="127" name="btfpIcon384559">
            <a:extLst>
              <a:ext uri="{FF2B5EF4-FFF2-40B4-BE49-F238E27FC236}">
                <a16:creationId xmlns:a16="http://schemas.microsoft.com/office/drawing/2014/main" id="{D5AD30D0-9371-4A36-9290-775F13CBE83D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6315926" y="4718006"/>
            <a:ext cx="680556" cy="680556"/>
            <a:chOff x="330200" y="1268413"/>
            <a:chExt cx="1081088" cy="1081088"/>
          </a:xfrm>
        </p:grpSpPr>
        <p:sp>
          <p:nvSpPr>
            <p:cNvPr id="128" name="btfpIconCircle384559">
              <a:extLst>
                <a:ext uri="{FF2B5EF4-FFF2-40B4-BE49-F238E27FC236}">
                  <a16:creationId xmlns:a16="http://schemas.microsoft.com/office/drawing/2014/main" id="{B6A59662-AF81-4965-8FEF-64A496165190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330200" y="1268413"/>
              <a:ext cx="1081088" cy="1081088"/>
            </a:xfrm>
            <a:prstGeom prst="ellipse">
              <a:avLst/>
            </a:prstGeom>
            <a:solidFill>
              <a:srgbClr val="CC0000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CA" sz="2133">
                <a:solidFill>
                  <a:srgbClr val="FFFFFF"/>
                </a:solidFill>
              </a:endParaRPr>
            </a:p>
          </p:txBody>
        </p:sp>
        <p:pic>
          <p:nvPicPr>
            <p:cNvPr id="129" name="btfpIconLines384559">
              <a:extLst>
                <a:ext uri="{FF2B5EF4-FFF2-40B4-BE49-F238E27FC236}">
                  <a16:creationId xmlns:a16="http://schemas.microsoft.com/office/drawing/2014/main" id="{10D357F2-F289-47B5-8572-FA9C7B9F63C8}"/>
                </a:ext>
              </a:extLst>
            </p:cNvPr>
            <p:cNvPicPr/>
            <p:nvPr>
              <p:custDataLst>
                <p:tags r:id="rId25"/>
              </p:custDataLst>
            </p:nvPr>
          </p:nvPicPr>
          <p:blipFill>
            <a:blip r:embed="rId53"/>
            <a:stretch>
              <a:fillRect/>
            </a:stretch>
          </p:blipFill>
          <p:spPr>
            <a:xfrm>
              <a:off x="330200" y="1268413"/>
              <a:ext cx="1081088" cy="1081088"/>
            </a:xfrm>
            <a:prstGeom prst="rect">
              <a:avLst/>
            </a:prstGeom>
          </p:spPr>
        </p:pic>
      </p:grpSp>
      <p:grpSp>
        <p:nvGrpSpPr>
          <p:cNvPr id="130" name="btfpIcon820018">
            <a:extLst>
              <a:ext uri="{FF2B5EF4-FFF2-40B4-BE49-F238E27FC236}">
                <a16:creationId xmlns:a16="http://schemas.microsoft.com/office/drawing/2014/main" id="{084E9398-F2F7-4D41-BA19-B06DB00607F6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6315926" y="5632373"/>
            <a:ext cx="680556" cy="680556"/>
            <a:chOff x="5814383" y="3147800"/>
            <a:chExt cx="1081088" cy="1081088"/>
          </a:xfrm>
        </p:grpSpPr>
        <p:sp>
          <p:nvSpPr>
            <p:cNvPr id="142" name="btfpIconCircle820018">
              <a:extLst>
                <a:ext uri="{FF2B5EF4-FFF2-40B4-BE49-F238E27FC236}">
                  <a16:creationId xmlns:a16="http://schemas.microsoft.com/office/drawing/2014/main" id="{010A3A00-5471-47C0-892E-610C1C4E0569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5814383" y="3147800"/>
              <a:ext cx="1081088" cy="1081088"/>
            </a:xfrm>
            <a:prstGeom prst="ellipse">
              <a:avLst/>
            </a:prstGeom>
            <a:solidFill>
              <a:srgbClr val="CC0000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8000" tIns="48000" rIns="48000" bIns="4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2133">
                <a:solidFill>
                  <a:schemeClr val="tx1"/>
                </a:solidFill>
              </a:endParaRPr>
            </a:p>
          </p:txBody>
        </p:sp>
        <p:pic>
          <p:nvPicPr>
            <p:cNvPr id="144" name="btfpIconLines820018">
              <a:extLst>
                <a:ext uri="{FF2B5EF4-FFF2-40B4-BE49-F238E27FC236}">
                  <a16:creationId xmlns:a16="http://schemas.microsoft.com/office/drawing/2014/main" id="{887D8BBC-B824-4A68-BF54-7875FF19A239}"/>
                </a:ext>
              </a:extLst>
            </p:cNvPr>
            <p:cNvPicPr/>
            <p:nvPr>
              <p:custDataLst>
                <p:tags r:id="rId23"/>
              </p:custDataLst>
            </p:nvPr>
          </p:nvPicPr>
          <p:blipFill>
            <a:blip r:embed="rId54"/>
            <a:stretch>
              <a:fillRect/>
            </a:stretch>
          </p:blipFill>
          <p:spPr>
            <a:xfrm>
              <a:off x="5814383" y="3147800"/>
              <a:ext cx="1081088" cy="1081088"/>
            </a:xfrm>
            <a:prstGeom prst="rect">
              <a:avLst/>
            </a:prstGeom>
          </p:spPr>
        </p:pic>
      </p:grpSp>
      <p:sp>
        <p:nvSpPr>
          <p:cNvPr id="150" name="TextBox 149">
            <a:extLst>
              <a:ext uri="{FF2B5EF4-FFF2-40B4-BE49-F238E27FC236}">
                <a16:creationId xmlns:a16="http://schemas.microsoft.com/office/drawing/2014/main" id="{04D695C0-123C-4AD0-949E-31121171F443}"/>
              </a:ext>
            </a:extLst>
          </p:cNvPr>
          <p:cNvSpPr txBox="1"/>
          <p:nvPr>
            <p:custDataLst>
              <p:tags r:id="rId15"/>
            </p:custDataLst>
          </p:nvPr>
        </p:nvSpPr>
        <p:spPr bwMode="gray">
          <a:xfrm>
            <a:off x="7175967" y="2026314"/>
            <a:ext cx="4480132" cy="54386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indent="0" defTabSz="12191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it-IT" sz="1400" b="1" dirty="0">
                <a:latin typeface="+mj-lt"/>
                <a:cs typeface="Arial" panose="020B0604020202020204" pitchFamily="34" charset="0"/>
              </a:rPr>
              <a:t>Per essere protagonisti nella </a:t>
            </a:r>
            <a:r>
              <a:rPr lang="it-IT" sz="1400" b="1" dirty="0">
                <a:solidFill>
                  <a:srgbClr val="620013"/>
                </a:solidFill>
                <a:latin typeface="+mj-lt"/>
              </a:rPr>
              <a:t>leadership nel settore dell’</a:t>
            </a:r>
            <a:r>
              <a:rPr lang="it-IT" sz="1400" b="1" dirty="0" err="1">
                <a:solidFill>
                  <a:srgbClr val="620013"/>
                </a:solidFill>
                <a:latin typeface="+mj-lt"/>
              </a:rPr>
              <a:t>education</a:t>
            </a:r>
            <a:r>
              <a:rPr lang="it-IT" sz="1400" b="1" dirty="0">
                <a:solidFill>
                  <a:srgbClr val="5C5C5C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it-IT" sz="1400" b="1" dirty="0">
                <a:latin typeface="+mj-lt"/>
                <a:cs typeface="Arial" panose="020B0604020202020204" pitchFamily="34" charset="0"/>
              </a:rPr>
              <a:t>di </a:t>
            </a:r>
            <a:r>
              <a:rPr lang="it-IT" sz="1400" b="1" dirty="0" err="1">
                <a:latin typeface="+mj-lt"/>
                <a:cs typeface="Arial" panose="020B0604020202020204" pitchFamily="34" charset="0"/>
              </a:rPr>
              <a:t>Multiversity</a:t>
            </a:r>
            <a:endParaRPr lang="it-IT" sz="1400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1D977E7B-0D2E-48FB-8626-E6578F1560B6}"/>
              </a:ext>
            </a:extLst>
          </p:cNvPr>
          <p:cNvSpPr txBox="1"/>
          <p:nvPr>
            <p:custDataLst>
              <p:tags r:id="rId16"/>
            </p:custDataLst>
          </p:nvPr>
        </p:nvSpPr>
        <p:spPr bwMode="gray">
          <a:xfrm>
            <a:off x="7175967" y="2957619"/>
            <a:ext cx="4480132" cy="54386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it-IT" sz="1400" b="1" dirty="0">
                <a:latin typeface="+mj-lt"/>
                <a:cs typeface="Arial" panose="020B0604020202020204" pitchFamily="34" charset="0"/>
              </a:rPr>
              <a:t>Creare e </a:t>
            </a:r>
            <a:r>
              <a:rPr lang="it-IT" sz="1400" b="1" dirty="0">
                <a:solidFill>
                  <a:srgbClr val="620013"/>
                </a:solidFill>
                <a:latin typeface="+mj-lt"/>
              </a:rPr>
              <a:t>sviluppare progetti formativi </a:t>
            </a:r>
            <a:r>
              <a:rPr lang="it-IT" sz="1400" b="1" dirty="0">
                <a:latin typeface="+mj-lt"/>
                <a:cs typeface="Arial" panose="020B0604020202020204" pitchFamily="34" charset="0"/>
              </a:rPr>
              <a:t>ideati e realizzati</a:t>
            </a:r>
            <a:r>
              <a:rPr lang="it-IT" sz="1400" b="1" dirty="0">
                <a:solidFill>
                  <a:srgbClr val="5C5C5C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it-IT" sz="1400" b="1" dirty="0">
                <a:solidFill>
                  <a:srgbClr val="620013"/>
                </a:solidFill>
                <a:latin typeface="+mj-lt"/>
              </a:rPr>
              <a:t>in sinergia </a:t>
            </a:r>
            <a:r>
              <a:rPr lang="it-IT" sz="1400" b="1" dirty="0">
                <a:latin typeface="+mj-lt"/>
                <a:cs typeface="Arial" panose="020B0604020202020204" pitchFamily="34" charset="0"/>
              </a:rPr>
              <a:t>con </a:t>
            </a:r>
            <a:r>
              <a:rPr lang="it-IT" sz="1400" b="1" dirty="0" err="1">
                <a:latin typeface="+mj-lt"/>
                <a:cs typeface="Arial" panose="020B0604020202020204" pitchFamily="34" charset="0"/>
              </a:rPr>
              <a:t>Multiversity</a:t>
            </a:r>
            <a:endParaRPr lang="it-IT" sz="1400" b="1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994BF011-7CFA-48C5-A05E-7CC5C5767BB8}"/>
              </a:ext>
            </a:extLst>
          </p:cNvPr>
          <p:cNvSpPr txBox="1"/>
          <p:nvPr>
            <p:custDataLst>
              <p:tags r:id="rId17"/>
            </p:custDataLst>
          </p:nvPr>
        </p:nvSpPr>
        <p:spPr bwMode="gray">
          <a:xfrm>
            <a:off x="7175967" y="3882308"/>
            <a:ext cx="4480132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it-IT" sz="1400" b="1" dirty="0">
                <a:latin typeface="+mj-lt"/>
                <a:cs typeface="Arial" panose="020B0604020202020204" pitchFamily="34" charset="0"/>
              </a:rPr>
              <a:t>Dare risposta alle </a:t>
            </a:r>
            <a:r>
              <a:rPr lang="it-IT" sz="1400" b="1" dirty="0">
                <a:solidFill>
                  <a:srgbClr val="620013"/>
                </a:solidFill>
                <a:latin typeface="+mj-lt"/>
              </a:rPr>
              <a:t>istanze di formazione del territorio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61798B5D-A9E1-4DFD-A5C1-CA65D0A3CE9C}"/>
              </a:ext>
            </a:extLst>
          </p:cNvPr>
          <p:cNvSpPr txBox="1"/>
          <p:nvPr>
            <p:custDataLst>
              <p:tags r:id="rId18"/>
            </p:custDataLst>
          </p:nvPr>
        </p:nvSpPr>
        <p:spPr bwMode="gray">
          <a:xfrm>
            <a:off x="7175967" y="4786350"/>
            <a:ext cx="4480132" cy="54386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it-IT" sz="1400" b="1" dirty="0">
                <a:latin typeface="+mj-lt"/>
                <a:cs typeface="Arial" panose="020B0604020202020204" pitchFamily="34" charset="0"/>
              </a:rPr>
              <a:t>Favorire la formazione e l’utilizzo dell’e-learning con</a:t>
            </a:r>
            <a:r>
              <a:rPr lang="it-IT" sz="1400" b="1" dirty="0">
                <a:solidFill>
                  <a:srgbClr val="5C5C5C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it-IT" sz="1400" b="1" dirty="0">
                <a:solidFill>
                  <a:srgbClr val="620013"/>
                </a:solidFill>
                <a:latin typeface="+mj-lt"/>
              </a:rPr>
              <a:t>l’impiego di tutor specializzati</a:t>
            </a:r>
            <a:r>
              <a:rPr lang="it-IT" sz="1400" b="1" dirty="0">
                <a:solidFill>
                  <a:srgbClr val="5C5C5C"/>
                </a:solidFill>
                <a:latin typeface="+mj-lt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5F7B0595-83D9-4CCA-BE20-0FA7A1FB15D5}"/>
              </a:ext>
            </a:extLst>
          </p:cNvPr>
          <p:cNvSpPr txBox="1"/>
          <p:nvPr>
            <p:custDataLst>
              <p:tags r:id="rId19"/>
            </p:custDataLst>
          </p:nvPr>
        </p:nvSpPr>
        <p:spPr bwMode="gray">
          <a:xfrm>
            <a:off x="7175967" y="5700718"/>
            <a:ext cx="4480132" cy="54386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indent="0" defTabSz="1219170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it-IT" sz="1400" b="1" dirty="0">
                <a:latin typeface="+mj-lt"/>
                <a:cs typeface="Arial" panose="020B0604020202020204" pitchFamily="34" charset="0"/>
              </a:rPr>
              <a:t>Contribuire a</a:t>
            </a:r>
            <a:r>
              <a:rPr lang="it-IT" sz="1400" b="1" dirty="0">
                <a:solidFill>
                  <a:srgbClr val="5C5C5C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it-IT" sz="1400" b="1" dirty="0">
                <a:solidFill>
                  <a:srgbClr val="620013"/>
                </a:solidFill>
                <a:latin typeface="+mj-lt"/>
              </a:rPr>
              <a:t>ridurre il mismatch tra domanda e offerta</a:t>
            </a:r>
            <a:r>
              <a:rPr lang="it-IT" sz="1400" b="1" dirty="0">
                <a:solidFill>
                  <a:srgbClr val="5C5C5C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it-IT" sz="1400" b="1" dirty="0">
                <a:latin typeface="+mj-lt"/>
                <a:cs typeface="Arial" panose="020B0604020202020204" pitchFamily="34" charset="0"/>
              </a:rPr>
              <a:t>nel Mondo del Lavoro</a:t>
            </a:r>
          </a:p>
        </p:txBody>
      </p:sp>
      <p:pic>
        <p:nvPicPr>
          <p:cNvPr id="16" name="Immagine 15">
            <a:extLst>
              <a:ext uri="{FF2B5EF4-FFF2-40B4-BE49-F238E27FC236}">
                <a16:creationId xmlns:a16="http://schemas.microsoft.com/office/drawing/2014/main" id="{04AF7EAA-3FFC-4807-9685-1672D8623A6A}"/>
              </a:ext>
            </a:extLst>
          </p:cNvPr>
          <p:cNvPicPr>
            <a:picLocks noChangeAspect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422" y="4605542"/>
            <a:ext cx="1521021" cy="892887"/>
          </a:xfrm>
          <a:prstGeom prst="rect">
            <a:avLst/>
          </a:prstGeom>
        </p:spPr>
      </p:pic>
      <p:grpSp>
        <p:nvGrpSpPr>
          <p:cNvPr id="51" name="btfpRunningAgenda2Level587740">
            <a:extLst>
              <a:ext uri="{FF2B5EF4-FFF2-40B4-BE49-F238E27FC236}">
                <a16:creationId xmlns:a16="http://schemas.microsoft.com/office/drawing/2014/main" id="{3986CB9A-6544-4A4A-A15D-B9C2BCEF0519}"/>
              </a:ext>
            </a:extLst>
          </p:cNvPr>
          <p:cNvGrpSpPr/>
          <p:nvPr>
            <p:custDataLst>
              <p:tags r:id="rId20"/>
            </p:custDataLst>
          </p:nvPr>
        </p:nvGrpSpPr>
        <p:grpSpPr>
          <a:xfrm>
            <a:off x="-1" y="944429"/>
            <a:ext cx="4289857" cy="257442"/>
            <a:chOff x="-1" y="876300"/>
            <a:chExt cx="4289857" cy="257442"/>
          </a:xfrm>
        </p:grpSpPr>
        <p:sp>
          <p:nvSpPr>
            <p:cNvPr id="52" name="btfpRunningAgenda2LevelBarLeft587740">
              <a:extLst>
                <a:ext uri="{FF2B5EF4-FFF2-40B4-BE49-F238E27FC236}">
                  <a16:creationId xmlns:a16="http://schemas.microsoft.com/office/drawing/2014/main" id="{13B8A1E3-7AE5-4168-9680-54C5E1A6FC36}"/>
                </a:ext>
              </a:extLst>
            </p:cNvPr>
            <p:cNvSpPr/>
            <p:nvPr/>
          </p:nvSpPr>
          <p:spPr bwMode="gray">
            <a:xfrm>
              <a:off x="-1" y="876300"/>
              <a:ext cx="4289857" cy="257442"/>
            </a:xfrm>
            <a:custGeom>
              <a:avLst/>
              <a:gdLst>
                <a:gd name="connsiteX0" fmla="*/ 950801 w 3573314"/>
                <a:gd name="connsiteY0" fmla="*/ 0 h 257442"/>
                <a:gd name="connsiteX1" fmla="*/ 3573314 w 3573314"/>
                <a:gd name="connsiteY1" fmla="*/ 0 h 257442"/>
                <a:gd name="connsiteX2" fmla="*/ 3518593 w 3573314"/>
                <a:gd name="connsiteY2" fmla="*/ 257442 h 257442"/>
                <a:gd name="connsiteX3" fmla="*/ 0 w 3573314"/>
                <a:gd name="connsiteY3" fmla="*/ 257442 h 257442"/>
                <a:gd name="connsiteX0" fmla="*/ 950801 w 3518593"/>
                <a:gd name="connsiteY0" fmla="*/ 0 h 257442"/>
                <a:gd name="connsiteX1" fmla="*/ 896080 w 3518593"/>
                <a:gd name="connsiteY1" fmla="*/ 257442 h 257442"/>
                <a:gd name="connsiteX2" fmla="*/ 3518593 w 3518593"/>
                <a:gd name="connsiteY2" fmla="*/ 257442 h 257442"/>
                <a:gd name="connsiteX3" fmla="*/ 0 w 3518593"/>
                <a:gd name="connsiteY3" fmla="*/ 257442 h 257442"/>
                <a:gd name="connsiteX0" fmla="*/ 950801 w 950801"/>
                <a:gd name="connsiteY0" fmla="*/ 0 h 257442"/>
                <a:gd name="connsiteX1" fmla="*/ 896080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79 w 950800"/>
                <a:gd name="connsiteY1" fmla="*/ 257442 h 257442"/>
                <a:gd name="connsiteX2" fmla="*/ 0 w 950800"/>
                <a:gd name="connsiteY2" fmla="*/ 257442 h 257442"/>
                <a:gd name="connsiteX3" fmla="*/ 0 w 950800"/>
                <a:gd name="connsiteY3" fmla="*/ 0 h 257442"/>
                <a:gd name="connsiteX0" fmla="*/ 1119115 w 1119115"/>
                <a:gd name="connsiteY0" fmla="*/ 0 h 257442"/>
                <a:gd name="connsiteX1" fmla="*/ 896079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5 w 1119115"/>
                <a:gd name="connsiteY0" fmla="*/ 0 h 257442"/>
                <a:gd name="connsiteX1" fmla="*/ 1064394 w 1119115"/>
                <a:gd name="connsiteY1" fmla="*/ 257442 h 257442"/>
                <a:gd name="connsiteX2" fmla="*/ 0 w 1119115"/>
                <a:gd name="connsiteY2" fmla="*/ 257442 h 257442"/>
                <a:gd name="connsiteX3" fmla="*/ 0 w 1119115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1 w 1119116"/>
                <a:gd name="connsiteY3" fmla="*/ 0 h 257442"/>
                <a:gd name="connsiteX0" fmla="*/ 1119116 w 1119116"/>
                <a:gd name="connsiteY0" fmla="*/ 0 h 257442"/>
                <a:gd name="connsiteX1" fmla="*/ 1064395 w 1119116"/>
                <a:gd name="connsiteY1" fmla="*/ 257442 h 257442"/>
                <a:gd name="connsiteX2" fmla="*/ 0 w 1119116"/>
                <a:gd name="connsiteY2" fmla="*/ 257442 h 257442"/>
                <a:gd name="connsiteX3" fmla="*/ 0 w 1119116"/>
                <a:gd name="connsiteY3" fmla="*/ 0 h 257442"/>
                <a:gd name="connsiteX0" fmla="*/ 1220106 w 1220106"/>
                <a:gd name="connsiteY0" fmla="*/ 0 h 257442"/>
                <a:gd name="connsiteX1" fmla="*/ 1064395 w 1220106"/>
                <a:gd name="connsiteY1" fmla="*/ 257442 h 257442"/>
                <a:gd name="connsiteX2" fmla="*/ 0 w 1220106"/>
                <a:gd name="connsiteY2" fmla="*/ 257442 h 257442"/>
                <a:gd name="connsiteX3" fmla="*/ 0 w 1220106"/>
                <a:gd name="connsiteY3" fmla="*/ 0 h 257442"/>
                <a:gd name="connsiteX0" fmla="*/ 1220106 w 1220106"/>
                <a:gd name="connsiteY0" fmla="*/ 0 h 257442"/>
                <a:gd name="connsiteX1" fmla="*/ 1165385 w 1220106"/>
                <a:gd name="connsiteY1" fmla="*/ 257442 h 257442"/>
                <a:gd name="connsiteX2" fmla="*/ 0 w 1220106"/>
                <a:gd name="connsiteY2" fmla="*/ 257442 h 257442"/>
                <a:gd name="connsiteX3" fmla="*/ 0 w 1220106"/>
                <a:gd name="connsiteY3" fmla="*/ 0 h 257442"/>
                <a:gd name="connsiteX0" fmla="*/ 1220106 w 1220106"/>
                <a:gd name="connsiteY0" fmla="*/ 0 h 257442"/>
                <a:gd name="connsiteX1" fmla="*/ 1165385 w 1220106"/>
                <a:gd name="connsiteY1" fmla="*/ 257442 h 257442"/>
                <a:gd name="connsiteX2" fmla="*/ 0 w 1220106"/>
                <a:gd name="connsiteY2" fmla="*/ 257442 h 257442"/>
                <a:gd name="connsiteX3" fmla="*/ 0 w 1220106"/>
                <a:gd name="connsiteY3" fmla="*/ 0 h 257442"/>
                <a:gd name="connsiteX0" fmla="*/ 1220106 w 1220106"/>
                <a:gd name="connsiteY0" fmla="*/ 0 h 257442"/>
                <a:gd name="connsiteX1" fmla="*/ 1165385 w 1220106"/>
                <a:gd name="connsiteY1" fmla="*/ 257442 h 257442"/>
                <a:gd name="connsiteX2" fmla="*/ 0 w 1220106"/>
                <a:gd name="connsiteY2" fmla="*/ 257442 h 257442"/>
                <a:gd name="connsiteX3" fmla="*/ 0 w 1220106"/>
                <a:gd name="connsiteY3" fmla="*/ 0 h 257442"/>
                <a:gd name="connsiteX0" fmla="*/ 1380406 w 1380406"/>
                <a:gd name="connsiteY0" fmla="*/ 0 h 257442"/>
                <a:gd name="connsiteX1" fmla="*/ 11653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380406 w 1380406"/>
                <a:gd name="connsiteY0" fmla="*/ 0 h 257442"/>
                <a:gd name="connsiteX1" fmla="*/ 1325685 w 1380406"/>
                <a:gd name="connsiteY1" fmla="*/ 257442 h 257442"/>
                <a:gd name="connsiteX2" fmla="*/ 0 w 1380406"/>
                <a:gd name="connsiteY2" fmla="*/ 257442 h 257442"/>
                <a:gd name="connsiteX3" fmla="*/ 0 w 1380406"/>
                <a:gd name="connsiteY3" fmla="*/ 0 h 257442"/>
                <a:gd name="connsiteX0" fmla="*/ 1540706 w 1540706"/>
                <a:gd name="connsiteY0" fmla="*/ 0 h 257442"/>
                <a:gd name="connsiteX1" fmla="*/ 13256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540706 w 1540706"/>
                <a:gd name="connsiteY0" fmla="*/ 0 h 257442"/>
                <a:gd name="connsiteX1" fmla="*/ 1485985 w 1540706"/>
                <a:gd name="connsiteY1" fmla="*/ 257442 h 257442"/>
                <a:gd name="connsiteX2" fmla="*/ 0 w 1540706"/>
                <a:gd name="connsiteY2" fmla="*/ 257442 h 257442"/>
                <a:gd name="connsiteX3" fmla="*/ 0 w 1540706"/>
                <a:gd name="connsiteY3" fmla="*/ 0 h 257442"/>
                <a:gd name="connsiteX0" fmla="*/ 1709021 w 1709021"/>
                <a:gd name="connsiteY0" fmla="*/ 0 h 257442"/>
                <a:gd name="connsiteX1" fmla="*/ 1485985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709021 w 1709021"/>
                <a:gd name="connsiteY0" fmla="*/ 0 h 257442"/>
                <a:gd name="connsiteX1" fmla="*/ 1654300 w 1709021"/>
                <a:gd name="connsiteY1" fmla="*/ 257442 h 257442"/>
                <a:gd name="connsiteX2" fmla="*/ 0 w 1709021"/>
                <a:gd name="connsiteY2" fmla="*/ 257442 h 257442"/>
                <a:gd name="connsiteX3" fmla="*/ 0 w 1709021"/>
                <a:gd name="connsiteY3" fmla="*/ 0 h 257442"/>
                <a:gd name="connsiteX0" fmla="*/ 1869321 w 1869321"/>
                <a:gd name="connsiteY0" fmla="*/ 0 h 257442"/>
                <a:gd name="connsiteX1" fmla="*/ 16543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869321 w 1869321"/>
                <a:gd name="connsiteY0" fmla="*/ 0 h 257442"/>
                <a:gd name="connsiteX1" fmla="*/ 1814600 w 1869321"/>
                <a:gd name="connsiteY1" fmla="*/ 257442 h 257442"/>
                <a:gd name="connsiteX2" fmla="*/ 0 w 1869321"/>
                <a:gd name="connsiteY2" fmla="*/ 257442 h 257442"/>
                <a:gd name="connsiteX3" fmla="*/ 0 w 1869321"/>
                <a:gd name="connsiteY3" fmla="*/ 0 h 257442"/>
                <a:gd name="connsiteX0" fmla="*/ 1970311 w 1970311"/>
                <a:gd name="connsiteY0" fmla="*/ 0 h 257442"/>
                <a:gd name="connsiteX1" fmla="*/ 1814600 w 1970311"/>
                <a:gd name="connsiteY1" fmla="*/ 257442 h 257442"/>
                <a:gd name="connsiteX2" fmla="*/ 0 w 1970311"/>
                <a:gd name="connsiteY2" fmla="*/ 257442 h 257442"/>
                <a:gd name="connsiteX3" fmla="*/ 0 w 1970311"/>
                <a:gd name="connsiteY3" fmla="*/ 0 h 257442"/>
                <a:gd name="connsiteX0" fmla="*/ 1970311 w 1970311"/>
                <a:gd name="connsiteY0" fmla="*/ 0 h 257442"/>
                <a:gd name="connsiteX1" fmla="*/ 1915590 w 1970311"/>
                <a:gd name="connsiteY1" fmla="*/ 257442 h 257442"/>
                <a:gd name="connsiteX2" fmla="*/ 0 w 1970311"/>
                <a:gd name="connsiteY2" fmla="*/ 257442 h 257442"/>
                <a:gd name="connsiteX3" fmla="*/ 0 w 1970311"/>
                <a:gd name="connsiteY3" fmla="*/ 0 h 257442"/>
                <a:gd name="connsiteX0" fmla="*/ 1970311 w 1970311"/>
                <a:gd name="connsiteY0" fmla="*/ 0 h 257442"/>
                <a:gd name="connsiteX1" fmla="*/ 1915590 w 1970311"/>
                <a:gd name="connsiteY1" fmla="*/ 257442 h 257442"/>
                <a:gd name="connsiteX2" fmla="*/ 0 w 1970311"/>
                <a:gd name="connsiteY2" fmla="*/ 257442 h 257442"/>
                <a:gd name="connsiteX3" fmla="*/ 0 w 1970311"/>
                <a:gd name="connsiteY3" fmla="*/ 0 h 257442"/>
                <a:gd name="connsiteX0" fmla="*/ 1970311 w 1970311"/>
                <a:gd name="connsiteY0" fmla="*/ 0 h 257442"/>
                <a:gd name="connsiteX1" fmla="*/ 1915590 w 1970311"/>
                <a:gd name="connsiteY1" fmla="*/ 257442 h 257442"/>
                <a:gd name="connsiteX2" fmla="*/ 0 w 1970311"/>
                <a:gd name="connsiteY2" fmla="*/ 257442 h 257442"/>
                <a:gd name="connsiteX3" fmla="*/ 0 w 1970311"/>
                <a:gd name="connsiteY3" fmla="*/ 0 h 257442"/>
                <a:gd name="connsiteX0" fmla="*/ 2122596 w 2122596"/>
                <a:gd name="connsiteY0" fmla="*/ 0 h 257442"/>
                <a:gd name="connsiteX1" fmla="*/ 1915590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6 w 2122596"/>
                <a:gd name="connsiteY0" fmla="*/ 0 h 257442"/>
                <a:gd name="connsiteX1" fmla="*/ 2067874 w 2122596"/>
                <a:gd name="connsiteY1" fmla="*/ 257442 h 257442"/>
                <a:gd name="connsiteX2" fmla="*/ 0 w 2122596"/>
                <a:gd name="connsiteY2" fmla="*/ 257442 h 257442"/>
                <a:gd name="connsiteX3" fmla="*/ 0 w 2122596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122597 w 2122597"/>
                <a:gd name="connsiteY0" fmla="*/ 0 h 257442"/>
                <a:gd name="connsiteX1" fmla="*/ 2067875 w 2122597"/>
                <a:gd name="connsiteY1" fmla="*/ 257442 h 257442"/>
                <a:gd name="connsiteX2" fmla="*/ 0 w 2122597"/>
                <a:gd name="connsiteY2" fmla="*/ 257442 h 257442"/>
                <a:gd name="connsiteX3" fmla="*/ 1 w 2122597"/>
                <a:gd name="connsiteY3" fmla="*/ 0 h 257442"/>
                <a:gd name="connsiteX0" fmla="*/ 2290913 w 2290913"/>
                <a:gd name="connsiteY0" fmla="*/ 0 h 257442"/>
                <a:gd name="connsiteX1" fmla="*/ 2067875 w 2290913"/>
                <a:gd name="connsiteY1" fmla="*/ 257442 h 257442"/>
                <a:gd name="connsiteX2" fmla="*/ 0 w 2290913"/>
                <a:gd name="connsiteY2" fmla="*/ 257442 h 257442"/>
                <a:gd name="connsiteX3" fmla="*/ 1 w 2290913"/>
                <a:gd name="connsiteY3" fmla="*/ 0 h 257442"/>
                <a:gd name="connsiteX0" fmla="*/ 2290913 w 2290913"/>
                <a:gd name="connsiteY0" fmla="*/ 0 h 257442"/>
                <a:gd name="connsiteX1" fmla="*/ 2236192 w 2290913"/>
                <a:gd name="connsiteY1" fmla="*/ 257442 h 257442"/>
                <a:gd name="connsiteX2" fmla="*/ 0 w 2290913"/>
                <a:gd name="connsiteY2" fmla="*/ 257442 h 257442"/>
                <a:gd name="connsiteX3" fmla="*/ 1 w 2290913"/>
                <a:gd name="connsiteY3" fmla="*/ 0 h 257442"/>
                <a:gd name="connsiteX0" fmla="*/ 2290912 w 2290912"/>
                <a:gd name="connsiteY0" fmla="*/ 0 h 257442"/>
                <a:gd name="connsiteX1" fmla="*/ 2236191 w 2290912"/>
                <a:gd name="connsiteY1" fmla="*/ 257442 h 257442"/>
                <a:gd name="connsiteX2" fmla="*/ 0 w 2290912"/>
                <a:gd name="connsiteY2" fmla="*/ 257442 h 257442"/>
                <a:gd name="connsiteX3" fmla="*/ 0 w 2290912"/>
                <a:gd name="connsiteY3" fmla="*/ 0 h 257442"/>
                <a:gd name="connsiteX0" fmla="*/ 2290913 w 2290913"/>
                <a:gd name="connsiteY0" fmla="*/ 0 h 257442"/>
                <a:gd name="connsiteX1" fmla="*/ 2236192 w 2290913"/>
                <a:gd name="connsiteY1" fmla="*/ 257442 h 257442"/>
                <a:gd name="connsiteX2" fmla="*/ 1 w 2290913"/>
                <a:gd name="connsiteY2" fmla="*/ 257442 h 257442"/>
                <a:gd name="connsiteX3" fmla="*/ 0 w 2290913"/>
                <a:gd name="connsiteY3" fmla="*/ 0 h 257442"/>
                <a:gd name="connsiteX0" fmla="*/ 2391901 w 2391901"/>
                <a:gd name="connsiteY0" fmla="*/ 0 h 257442"/>
                <a:gd name="connsiteX1" fmla="*/ 2236192 w 2391901"/>
                <a:gd name="connsiteY1" fmla="*/ 257442 h 257442"/>
                <a:gd name="connsiteX2" fmla="*/ 1 w 2391901"/>
                <a:gd name="connsiteY2" fmla="*/ 257442 h 257442"/>
                <a:gd name="connsiteX3" fmla="*/ 0 w 2391901"/>
                <a:gd name="connsiteY3" fmla="*/ 0 h 257442"/>
                <a:gd name="connsiteX0" fmla="*/ 2391901 w 2391901"/>
                <a:gd name="connsiteY0" fmla="*/ 0 h 257442"/>
                <a:gd name="connsiteX1" fmla="*/ 2337180 w 2391901"/>
                <a:gd name="connsiteY1" fmla="*/ 257442 h 257442"/>
                <a:gd name="connsiteX2" fmla="*/ 1 w 2391901"/>
                <a:gd name="connsiteY2" fmla="*/ 257442 h 257442"/>
                <a:gd name="connsiteX3" fmla="*/ 0 w 2391901"/>
                <a:gd name="connsiteY3" fmla="*/ 0 h 257442"/>
                <a:gd name="connsiteX0" fmla="*/ 2391901 w 2391901"/>
                <a:gd name="connsiteY0" fmla="*/ 0 h 257442"/>
                <a:gd name="connsiteX1" fmla="*/ 2337180 w 2391901"/>
                <a:gd name="connsiteY1" fmla="*/ 257442 h 257442"/>
                <a:gd name="connsiteX2" fmla="*/ 1 w 2391901"/>
                <a:gd name="connsiteY2" fmla="*/ 257442 h 257442"/>
                <a:gd name="connsiteX3" fmla="*/ 0 w 2391901"/>
                <a:gd name="connsiteY3" fmla="*/ 0 h 257442"/>
                <a:gd name="connsiteX0" fmla="*/ 2391900 w 2391900"/>
                <a:gd name="connsiteY0" fmla="*/ 0 h 257442"/>
                <a:gd name="connsiteX1" fmla="*/ 2337179 w 2391900"/>
                <a:gd name="connsiteY1" fmla="*/ 257442 h 257442"/>
                <a:gd name="connsiteX2" fmla="*/ 0 w 2391900"/>
                <a:gd name="connsiteY2" fmla="*/ 257442 h 257442"/>
                <a:gd name="connsiteX3" fmla="*/ 0 w 2391900"/>
                <a:gd name="connsiteY3" fmla="*/ 0 h 257442"/>
                <a:gd name="connsiteX0" fmla="*/ 2569833 w 2569833"/>
                <a:gd name="connsiteY0" fmla="*/ 0 h 257442"/>
                <a:gd name="connsiteX1" fmla="*/ 2337179 w 2569833"/>
                <a:gd name="connsiteY1" fmla="*/ 257442 h 257442"/>
                <a:gd name="connsiteX2" fmla="*/ 0 w 2569833"/>
                <a:gd name="connsiteY2" fmla="*/ 257442 h 257442"/>
                <a:gd name="connsiteX3" fmla="*/ 0 w 2569833"/>
                <a:gd name="connsiteY3" fmla="*/ 0 h 257442"/>
                <a:gd name="connsiteX0" fmla="*/ 2569833 w 2569833"/>
                <a:gd name="connsiteY0" fmla="*/ 0 h 257442"/>
                <a:gd name="connsiteX1" fmla="*/ 2515112 w 2569833"/>
                <a:gd name="connsiteY1" fmla="*/ 257442 h 257442"/>
                <a:gd name="connsiteX2" fmla="*/ 0 w 2569833"/>
                <a:gd name="connsiteY2" fmla="*/ 257442 h 257442"/>
                <a:gd name="connsiteX3" fmla="*/ 0 w 2569833"/>
                <a:gd name="connsiteY3" fmla="*/ 0 h 257442"/>
                <a:gd name="connsiteX0" fmla="*/ 2569834 w 2569834"/>
                <a:gd name="connsiteY0" fmla="*/ 0 h 257442"/>
                <a:gd name="connsiteX1" fmla="*/ 2515113 w 2569834"/>
                <a:gd name="connsiteY1" fmla="*/ 257442 h 257442"/>
                <a:gd name="connsiteX2" fmla="*/ 0 w 2569834"/>
                <a:gd name="connsiteY2" fmla="*/ 257442 h 257442"/>
                <a:gd name="connsiteX3" fmla="*/ 1 w 2569834"/>
                <a:gd name="connsiteY3" fmla="*/ 0 h 257442"/>
                <a:gd name="connsiteX0" fmla="*/ 2569834 w 2569834"/>
                <a:gd name="connsiteY0" fmla="*/ 0 h 257442"/>
                <a:gd name="connsiteX1" fmla="*/ 2515113 w 2569834"/>
                <a:gd name="connsiteY1" fmla="*/ 257442 h 257442"/>
                <a:gd name="connsiteX2" fmla="*/ 0 w 2569834"/>
                <a:gd name="connsiteY2" fmla="*/ 257442 h 257442"/>
                <a:gd name="connsiteX3" fmla="*/ 0 w 2569834"/>
                <a:gd name="connsiteY3" fmla="*/ 0 h 257442"/>
                <a:gd name="connsiteX0" fmla="*/ 2738149 w 2738149"/>
                <a:gd name="connsiteY0" fmla="*/ 0 h 257442"/>
                <a:gd name="connsiteX1" fmla="*/ 2515113 w 2738149"/>
                <a:gd name="connsiteY1" fmla="*/ 257442 h 257442"/>
                <a:gd name="connsiteX2" fmla="*/ 0 w 2738149"/>
                <a:gd name="connsiteY2" fmla="*/ 257442 h 257442"/>
                <a:gd name="connsiteX3" fmla="*/ 0 w 2738149"/>
                <a:gd name="connsiteY3" fmla="*/ 0 h 257442"/>
                <a:gd name="connsiteX0" fmla="*/ 2738149 w 2738149"/>
                <a:gd name="connsiteY0" fmla="*/ 0 h 257442"/>
                <a:gd name="connsiteX1" fmla="*/ 2683428 w 2738149"/>
                <a:gd name="connsiteY1" fmla="*/ 257442 h 257442"/>
                <a:gd name="connsiteX2" fmla="*/ 0 w 2738149"/>
                <a:gd name="connsiteY2" fmla="*/ 257442 h 257442"/>
                <a:gd name="connsiteX3" fmla="*/ 0 w 2738149"/>
                <a:gd name="connsiteY3" fmla="*/ 0 h 257442"/>
                <a:gd name="connsiteX0" fmla="*/ 2738149 w 2738149"/>
                <a:gd name="connsiteY0" fmla="*/ 0 h 257442"/>
                <a:gd name="connsiteX1" fmla="*/ 2683428 w 2738149"/>
                <a:gd name="connsiteY1" fmla="*/ 257442 h 257442"/>
                <a:gd name="connsiteX2" fmla="*/ 0 w 2738149"/>
                <a:gd name="connsiteY2" fmla="*/ 257442 h 257442"/>
                <a:gd name="connsiteX3" fmla="*/ 0 w 2738149"/>
                <a:gd name="connsiteY3" fmla="*/ 0 h 257442"/>
                <a:gd name="connsiteX0" fmla="*/ 2738149 w 2738149"/>
                <a:gd name="connsiteY0" fmla="*/ 0 h 257442"/>
                <a:gd name="connsiteX1" fmla="*/ 2683428 w 2738149"/>
                <a:gd name="connsiteY1" fmla="*/ 257442 h 257442"/>
                <a:gd name="connsiteX2" fmla="*/ 0 w 2738149"/>
                <a:gd name="connsiteY2" fmla="*/ 257442 h 257442"/>
                <a:gd name="connsiteX3" fmla="*/ 0 w 2738149"/>
                <a:gd name="connsiteY3" fmla="*/ 0 h 257442"/>
                <a:gd name="connsiteX0" fmla="*/ 2890435 w 2890435"/>
                <a:gd name="connsiteY0" fmla="*/ 0 h 257442"/>
                <a:gd name="connsiteX1" fmla="*/ 2683428 w 2890435"/>
                <a:gd name="connsiteY1" fmla="*/ 257442 h 257442"/>
                <a:gd name="connsiteX2" fmla="*/ 0 w 2890435"/>
                <a:gd name="connsiteY2" fmla="*/ 257442 h 257442"/>
                <a:gd name="connsiteX3" fmla="*/ 0 w 2890435"/>
                <a:gd name="connsiteY3" fmla="*/ 0 h 257442"/>
                <a:gd name="connsiteX0" fmla="*/ 2890435 w 2890435"/>
                <a:gd name="connsiteY0" fmla="*/ 0 h 257442"/>
                <a:gd name="connsiteX1" fmla="*/ 2835714 w 2890435"/>
                <a:gd name="connsiteY1" fmla="*/ 257442 h 257442"/>
                <a:gd name="connsiteX2" fmla="*/ 0 w 2890435"/>
                <a:gd name="connsiteY2" fmla="*/ 257442 h 257442"/>
                <a:gd name="connsiteX3" fmla="*/ 0 w 2890435"/>
                <a:gd name="connsiteY3" fmla="*/ 0 h 257442"/>
                <a:gd name="connsiteX0" fmla="*/ 2890435 w 2890435"/>
                <a:gd name="connsiteY0" fmla="*/ 0 h 257442"/>
                <a:gd name="connsiteX1" fmla="*/ 2835714 w 2890435"/>
                <a:gd name="connsiteY1" fmla="*/ 257442 h 257442"/>
                <a:gd name="connsiteX2" fmla="*/ 0 w 2890435"/>
                <a:gd name="connsiteY2" fmla="*/ 257442 h 257442"/>
                <a:gd name="connsiteX3" fmla="*/ 0 w 2890435"/>
                <a:gd name="connsiteY3" fmla="*/ 0 h 257442"/>
                <a:gd name="connsiteX0" fmla="*/ 2890435 w 2890435"/>
                <a:gd name="connsiteY0" fmla="*/ 0 h 257442"/>
                <a:gd name="connsiteX1" fmla="*/ 2835714 w 2890435"/>
                <a:gd name="connsiteY1" fmla="*/ 257442 h 257442"/>
                <a:gd name="connsiteX2" fmla="*/ 0 w 2890435"/>
                <a:gd name="connsiteY2" fmla="*/ 257442 h 257442"/>
                <a:gd name="connsiteX3" fmla="*/ 0 w 2890435"/>
                <a:gd name="connsiteY3" fmla="*/ 0 h 257442"/>
                <a:gd name="connsiteX0" fmla="*/ 2991423 w 2991423"/>
                <a:gd name="connsiteY0" fmla="*/ 0 h 257442"/>
                <a:gd name="connsiteX1" fmla="*/ 2835714 w 2991423"/>
                <a:gd name="connsiteY1" fmla="*/ 257442 h 257442"/>
                <a:gd name="connsiteX2" fmla="*/ 0 w 2991423"/>
                <a:gd name="connsiteY2" fmla="*/ 257442 h 257442"/>
                <a:gd name="connsiteX3" fmla="*/ 0 w 2991423"/>
                <a:gd name="connsiteY3" fmla="*/ 0 h 257442"/>
                <a:gd name="connsiteX0" fmla="*/ 2991423 w 2991423"/>
                <a:gd name="connsiteY0" fmla="*/ 0 h 257442"/>
                <a:gd name="connsiteX1" fmla="*/ 2936702 w 2991423"/>
                <a:gd name="connsiteY1" fmla="*/ 257442 h 257442"/>
                <a:gd name="connsiteX2" fmla="*/ 0 w 2991423"/>
                <a:gd name="connsiteY2" fmla="*/ 257442 h 257442"/>
                <a:gd name="connsiteX3" fmla="*/ 0 w 2991423"/>
                <a:gd name="connsiteY3" fmla="*/ 0 h 257442"/>
                <a:gd name="connsiteX0" fmla="*/ 2991423 w 2991423"/>
                <a:gd name="connsiteY0" fmla="*/ 0 h 257442"/>
                <a:gd name="connsiteX1" fmla="*/ 2936702 w 2991423"/>
                <a:gd name="connsiteY1" fmla="*/ 257442 h 257442"/>
                <a:gd name="connsiteX2" fmla="*/ 0 w 2991423"/>
                <a:gd name="connsiteY2" fmla="*/ 257442 h 257442"/>
                <a:gd name="connsiteX3" fmla="*/ 0 w 2991423"/>
                <a:gd name="connsiteY3" fmla="*/ 0 h 257442"/>
                <a:gd name="connsiteX0" fmla="*/ 2991423 w 2991423"/>
                <a:gd name="connsiteY0" fmla="*/ 0 h 257442"/>
                <a:gd name="connsiteX1" fmla="*/ 2936702 w 2991423"/>
                <a:gd name="connsiteY1" fmla="*/ 257442 h 257442"/>
                <a:gd name="connsiteX2" fmla="*/ 0 w 2991423"/>
                <a:gd name="connsiteY2" fmla="*/ 257442 h 257442"/>
                <a:gd name="connsiteX3" fmla="*/ 0 w 2991423"/>
                <a:gd name="connsiteY3" fmla="*/ 0 h 257442"/>
                <a:gd name="connsiteX0" fmla="*/ 3159739 w 3159739"/>
                <a:gd name="connsiteY0" fmla="*/ 0 h 257442"/>
                <a:gd name="connsiteX1" fmla="*/ 2936702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159739 w 3159739"/>
                <a:gd name="connsiteY0" fmla="*/ 0 h 257442"/>
                <a:gd name="connsiteX1" fmla="*/ 3105018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159739 w 3159739"/>
                <a:gd name="connsiteY0" fmla="*/ 0 h 257442"/>
                <a:gd name="connsiteX1" fmla="*/ 3105018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159739 w 3159739"/>
                <a:gd name="connsiteY0" fmla="*/ 0 h 257442"/>
                <a:gd name="connsiteX1" fmla="*/ 3105018 w 3159739"/>
                <a:gd name="connsiteY1" fmla="*/ 257442 h 257442"/>
                <a:gd name="connsiteX2" fmla="*/ 0 w 3159739"/>
                <a:gd name="connsiteY2" fmla="*/ 257442 h 257442"/>
                <a:gd name="connsiteX3" fmla="*/ 0 w 3159739"/>
                <a:gd name="connsiteY3" fmla="*/ 0 h 257442"/>
                <a:gd name="connsiteX0" fmla="*/ 3320039 w 3320039"/>
                <a:gd name="connsiteY0" fmla="*/ 0 h 257442"/>
                <a:gd name="connsiteX1" fmla="*/ 3105018 w 3320039"/>
                <a:gd name="connsiteY1" fmla="*/ 257442 h 257442"/>
                <a:gd name="connsiteX2" fmla="*/ 0 w 3320039"/>
                <a:gd name="connsiteY2" fmla="*/ 257442 h 257442"/>
                <a:gd name="connsiteX3" fmla="*/ 0 w 3320039"/>
                <a:gd name="connsiteY3" fmla="*/ 0 h 257442"/>
                <a:gd name="connsiteX0" fmla="*/ 3320039 w 3320039"/>
                <a:gd name="connsiteY0" fmla="*/ 0 h 257442"/>
                <a:gd name="connsiteX1" fmla="*/ 3265318 w 3320039"/>
                <a:gd name="connsiteY1" fmla="*/ 257442 h 257442"/>
                <a:gd name="connsiteX2" fmla="*/ 0 w 3320039"/>
                <a:gd name="connsiteY2" fmla="*/ 257442 h 257442"/>
                <a:gd name="connsiteX3" fmla="*/ 0 w 3320039"/>
                <a:gd name="connsiteY3" fmla="*/ 0 h 257442"/>
                <a:gd name="connsiteX0" fmla="*/ 3320039 w 3320039"/>
                <a:gd name="connsiteY0" fmla="*/ 0 h 257442"/>
                <a:gd name="connsiteX1" fmla="*/ 3265318 w 3320039"/>
                <a:gd name="connsiteY1" fmla="*/ 257442 h 257442"/>
                <a:gd name="connsiteX2" fmla="*/ 0 w 3320039"/>
                <a:gd name="connsiteY2" fmla="*/ 257442 h 257442"/>
                <a:gd name="connsiteX3" fmla="*/ 0 w 3320039"/>
                <a:gd name="connsiteY3" fmla="*/ 0 h 257442"/>
                <a:gd name="connsiteX0" fmla="*/ 3320039 w 3320039"/>
                <a:gd name="connsiteY0" fmla="*/ 0 h 257442"/>
                <a:gd name="connsiteX1" fmla="*/ 3265318 w 3320039"/>
                <a:gd name="connsiteY1" fmla="*/ 257442 h 257442"/>
                <a:gd name="connsiteX2" fmla="*/ 0 w 3320039"/>
                <a:gd name="connsiteY2" fmla="*/ 257442 h 257442"/>
                <a:gd name="connsiteX3" fmla="*/ 0 w 3320039"/>
                <a:gd name="connsiteY3" fmla="*/ 0 h 257442"/>
                <a:gd name="connsiteX0" fmla="*/ 934771 w 3265318"/>
                <a:gd name="connsiteY0" fmla="*/ 0 h 257442"/>
                <a:gd name="connsiteX1" fmla="*/ 3265318 w 3265318"/>
                <a:gd name="connsiteY1" fmla="*/ 257442 h 257442"/>
                <a:gd name="connsiteX2" fmla="*/ 0 w 3265318"/>
                <a:gd name="connsiteY2" fmla="*/ 257442 h 257442"/>
                <a:gd name="connsiteX3" fmla="*/ 0 w 3265318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0 w 934771"/>
                <a:gd name="connsiteY2" fmla="*/ 257442 h 257442"/>
                <a:gd name="connsiteX3" fmla="*/ 0 w 934771"/>
                <a:gd name="connsiteY3" fmla="*/ 0 h 257442"/>
                <a:gd name="connsiteX0" fmla="*/ 934771 w 934771"/>
                <a:gd name="connsiteY0" fmla="*/ 0 h 257442"/>
                <a:gd name="connsiteX1" fmla="*/ 880050 w 934771"/>
                <a:gd name="connsiteY1" fmla="*/ 257442 h 257442"/>
                <a:gd name="connsiteX2" fmla="*/ 1 w 934771"/>
                <a:gd name="connsiteY2" fmla="*/ 257442 h 257442"/>
                <a:gd name="connsiteX3" fmla="*/ 0 w 934771"/>
                <a:gd name="connsiteY3" fmla="*/ 0 h 257442"/>
                <a:gd name="connsiteX0" fmla="*/ 934770 w 934770"/>
                <a:gd name="connsiteY0" fmla="*/ 0 h 257442"/>
                <a:gd name="connsiteX1" fmla="*/ 880049 w 934770"/>
                <a:gd name="connsiteY1" fmla="*/ 257442 h 257442"/>
                <a:gd name="connsiteX2" fmla="*/ 0 w 934770"/>
                <a:gd name="connsiteY2" fmla="*/ 257442 h 257442"/>
                <a:gd name="connsiteX3" fmla="*/ 0 w 934770"/>
                <a:gd name="connsiteY3" fmla="*/ 0 h 257442"/>
                <a:gd name="connsiteX0" fmla="*/ 1095070 w 1095070"/>
                <a:gd name="connsiteY0" fmla="*/ 0 h 257442"/>
                <a:gd name="connsiteX1" fmla="*/ 880049 w 1095070"/>
                <a:gd name="connsiteY1" fmla="*/ 257442 h 257442"/>
                <a:gd name="connsiteX2" fmla="*/ 0 w 1095070"/>
                <a:gd name="connsiteY2" fmla="*/ 257442 h 257442"/>
                <a:gd name="connsiteX3" fmla="*/ 0 w 1095070"/>
                <a:gd name="connsiteY3" fmla="*/ 0 h 257442"/>
                <a:gd name="connsiteX0" fmla="*/ 1095070 w 1095070"/>
                <a:gd name="connsiteY0" fmla="*/ 0 h 257442"/>
                <a:gd name="connsiteX1" fmla="*/ 1040349 w 1095070"/>
                <a:gd name="connsiteY1" fmla="*/ 257442 h 257442"/>
                <a:gd name="connsiteX2" fmla="*/ 0 w 1095070"/>
                <a:gd name="connsiteY2" fmla="*/ 257442 h 257442"/>
                <a:gd name="connsiteX3" fmla="*/ 0 w 1095070"/>
                <a:gd name="connsiteY3" fmla="*/ 0 h 257442"/>
                <a:gd name="connsiteX0" fmla="*/ 1095071 w 1095071"/>
                <a:gd name="connsiteY0" fmla="*/ 0 h 257442"/>
                <a:gd name="connsiteX1" fmla="*/ 1040350 w 1095071"/>
                <a:gd name="connsiteY1" fmla="*/ 257442 h 257442"/>
                <a:gd name="connsiteX2" fmla="*/ 0 w 1095071"/>
                <a:gd name="connsiteY2" fmla="*/ 257442 h 257442"/>
                <a:gd name="connsiteX3" fmla="*/ 1 w 1095071"/>
                <a:gd name="connsiteY3" fmla="*/ 0 h 257442"/>
                <a:gd name="connsiteX0" fmla="*/ 1095071 w 1095071"/>
                <a:gd name="connsiteY0" fmla="*/ 0 h 257442"/>
                <a:gd name="connsiteX1" fmla="*/ 1040350 w 1095071"/>
                <a:gd name="connsiteY1" fmla="*/ 257442 h 257442"/>
                <a:gd name="connsiteX2" fmla="*/ 0 w 1095071"/>
                <a:gd name="connsiteY2" fmla="*/ 257442 h 257442"/>
                <a:gd name="connsiteX3" fmla="*/ 1 w 1095071"/>
                <a:gd name="connsiteY3" fmla="*/ 0 h 257442"/>
                <a:gd name="connsiteX0" fmla="*/ 1255373 w 1255373"/>
                <a:gd name="connsiteY0" fmla="*/ 0 h 257442"/>
                <a:gd name="connsiteX1" fmla="*/ 1040350 w 1255373"/>
                <a:gd name="connsiteY1" fmla="*/ 257442 h 257442"/>
                <a:gd name="connsiteX2" fmla="*/ 0 w 1255373"/>
                <a:gd name="connsiteY2" fmla="*/ 257442 h 257442"/>
                <a:gd name="connsiteX3" fmla="*/ 1 w 1255373"/>
                <a:gd name="connsiteY3" fmla="*/ 0 h 257442"/>
                <a:gd name="connsiteX0" fmla="*/ 1255373 w 1255373"/>
                <a:gd name="connsiteY0" fmla="*/ 0 h 257442"/>
                <a:gd name="connsiteX1" fmla="*/ 1200652 w 1255373"/>
                <a:gd name="connsiteY1" fmla="*/ 257442 h 257442"/>
                <a:gd name="connsiteX2" fmla="*/ 0 w 1255373"/>
                <a:gd name="connsiteY2" fmla="*/ 257442 h 257442"/>
                <a:gd name="connsiteX3" fmla="*/ 1 w 1255373"/>
                <a:gd name="connsiteY3" fmla="*/ 0 h 257442"/>
                <a:gd name="connsiteX0" fmla="*/ 1255372 w 1255372"/>
                <a:gd name="connsiteY0" fmla="*/ 0 h 257442"/>
                <a:gd name="connsiteX1" fmla="*/ 1200651 w 1255372"/>
                <a:gd name="connsiteY1" fmla="*/ 257442 h 257442"/>
                <a:gd name="connsiteX2" fmla="*/ 0 w 1255372"/>
                <a:gd name="connsiteY2" fmla="*/ 257442 h 257442"/>
                <a:gd name="connsiteX3" fmla="*/ 0 w 1255372"/>
                <a:gd name="connsiteY3" fmla="*/ 0 h 257442"/>
                <a:gd name="connsiteX0" fmla="*/ 1255373 w 1255373"/>
                <a:gd name="connsiteY0" fmla="*/ 0 h 257442"/>
                <a:gd name="connsiteX1" fmla="*/ 1200652 w 1255373"/>
                <a:gd name="connsiteY1" fmla="*/ 257442 h 257442"/>
                <a:gd name="connsiteX2" fmla="*/ 1 w 1255373"/>
                <a:gd name="connsiteY2" fmla="*/ 257442 h 257442"/>
                <a:gd name="connsiteX3" fmla="*/ 0 w 1255373"/>
                <a:gd name="connsiteY3" fmla="*/ 0 h 257442"/>
                <a:gd name="connsiteX0" fmla="*/ 1423688 w 1423688"/>
                <a:gd name="connsiteY0" fmla="*/ 0 h 257442"/>
                <a:gd name="connsiteX1" fmla="*/ 1200652 w 1423688"/>
                <a:gd name="connsiteY1" fmla="*/ 257442 h 257442"/>
                <a:gd name="connsiteX2" fmla="*/ 1 w 1423688"/>
                <a:gd name="connsiteY2" fmla="*/ 257442 h 257442"/>
                <a:gd name="connsiteX3" fmla="*/ 0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1 w 1423688"/>
                <a:gd name="connsiteY2" fmla="*/ 257442 h 257442"/>
                <a:gd name="connsiteX3" fmla="*/ 0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0 w 1423688"/>
                <a:gd name="connsiteY3" fmla="*/ 0 h 257442"/>
                <a:gd name="connsiteX0" fmla="*/ 1423688 w 1423688"/>
                <a:gd name="connsiteY0" fmla="*/ 0 h 257442"/>
                <a:gd name="connsiteX1" fmla="*/ 1368966 w 1423688"/>
                <a:gd name="connsiteY1" fmla="*/ 257442 h 257442"/>
                <a:gd name="connsiteX2" fmla="*/ 0 w 1423688"/>
                <a:gd name="connsiteY2" fmla="*/ 257442 h 257442"/>
                <a:gd name="connsiteX3" fmla="*/ 0 w 1423688"/>
                <a:gd name="connsiteY3" fmla="*/ 0 h 257442"/>
                <a:gd name="connsiteX0" fmla="*/ 1592002 w 1592002"/>
                <a:gd name="connsiteY0" fmla="*/ 0 h 257442"/>
                <a:gd name="connsiteX1" fmla="*/ 1368966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592002 w 1592002"/>
                <a:gd name="connsiteY0" fmla="*/ 0 h 257442"/>
                <a:gd name="connsiteX1" fmla="*/ 1537281 w 1592002"/>
                <a:gd name="connsiteY1" fmla="*/ 257442 h 257442"/>
                <a:gd name="connsiteX2" fmla="*/ 0 w 1592002"/>
                <a:gd name="connsiteY2" fmla="*/ 257442 h 257442"/>
                <a:gd name="connsiteX3" fmla="*/ 0 w 1592002"/>
                <a:gd name="connsiteY3" fmla="*/ 0 h 257442"/>
                <a:gd name="connsiteX0" fmla="*/ 1760317 w 1760317"/>
                <a:gd name="connsiteY0" fmla="*/ 0 h 257442"/>
                <a:gd name="connsiteX1" fmla="*/ 1537281 w 1760317"/>
                <a:gd name="connsiteY1" fmla="*/ 257442 h 257442"/>
                <a:gd name="connsiteX2" fmla="*/ 0 w 1760317"/>
                <a:gd name="connsiteY2" fmla="*/ 257442 h 257442"/>
                <a:gd name="connsiteX3" fmla="*/ 0 w 1760317"/>
                <a:gd name="connsiteY3" fmla="*/ 0 h 257442"/>
                <a:gd name="connsiteX0" fmla="*/ 1760317 w 1760317"/>
                <a:gd name="connsiteY0" fmla="*/ 0 h 257442"/>
                <a:gd name="connsiteX1" fmla="*/ 1705596 w 1760317"/>
                <a:gd name="connsiteY1" fmla="*/ 257442 h 257442"/>
                <a:gd name="connsiteX2" fmla="*/ 0 w 1760317"/>
                <a:gd name="connsiteY2" fmla="*/ 257442 h 257442"/>
                <a:gd name="connsiteX3" fmla="*/ 0 w 1760317"/>
                <a:gd name="connsiteY3" fmla="*/ 0 h 257442"/>
                <a:gd name="connsiteX0" fmla="*/ 1760317 w 1760317"/>
                <a:gd name="connsiteY0" fmla="*/ 0 h 257442"/>
                <a:gd name="connsiteX1" fmla="*/ 1705596 w 1760317"/>
                <a:gd name="connsiteY1" fmla="*/ 257442 h 257442"/>
                <a:gd name="connsiteX2" fmla="*/ 0 w 1760317"/>
                <a:gd name="connsiteY2" fmla="*/ 257442 h 257442"/>
                <a:gd name="connsiteX3" fmla="*/ 0 w 1760317"/>
                <a:gd name="connsiteY3" fmla="*/ 0 h 257442"/>
                <a:gd name="connsiteX0" fmla="*/ 1760317 w 1760317"/>
                <a:gd name="connsiteY0" fmla="*/ 0 h 257442"/>
                <a:gd name="connsiteX1" fmla="*/ 1705596 w 1760317"/>
                <a:gd name="connsiteY1" fmla="*/ 257442 h 257442"/>
                <a:gd name="connsiteX2" fmla="*/ 0 w 1760317"/>
                <a:gd name="connsiteY2" fmla="*/ 257442 h 257442"/>
                <a:gd name="connsiteX3" fmla="*/ 0 w 1760317"/>
                <a:gd name="connsiteY3" fmla="*/ 0 h 257442"/>
                <a:gd name="connsiteX0" fmla="*/ 1928633 w 1928633"/>
                <a:gd name="connsiteY0" fmla="*/ 0 h 257442"/>
                <a:gd name="connsiteX1" fmla="*/ 1705596 w 1928633"/>
                <a:gd name="connsiteY1" fmla="*/ 257442 h 257442"/>
                <a:gd name="connsiteX2" fmla="*/ 0 w 1928633"/>
                <a:gd name="connsiteY2" fmla="*/ 257442 h 257442"/>
                <a:gd name="connsiteX3" fmla="*/ 0 w 1928633"/>
                <a:gd name="connsiteY3" fmla="*/ 0 h 257442"/>
                <a:gd name="connsiteX0" fmla="*/ 1928633 w 1928633"/>
                <a:gd name="connsiteY0" fmla="*/ 0 h 257442"/>
                <a:gd name="connsiteX1" fmla="*/ 1873912 w 1928633"/>
                <a:gd name="connsiteY1" fmla="*/ 257442 h 257442"/>
                <a:gd name="connsiteX2" fmla="*/ 0 w 1928633"/>
                <a:gd name="connsiteY2" fmla="*/ 257442 h 257442"/>
                <a:gd name="connsiteX3" fmla="*/ 0 w 1928633"/>
                <a:gd name="connsiteY3" fmla="*/ 0 h 257442"/>
                <a:gd name="connsiteX0" fmla="*/ 1928633 w 1928633"/>
                <a:gd name="connsiteY0" fmla="*/ 0 h 257442"/>
                <a:gd name="connsiteX1" fmla="*/ 1873912 w 1928633"/>
                <a:gd name="connsiteY1" fmla="*/ 257442 h 257442"/>
                <a:gd name="connsiteX2" fmla="*/ 0 w 1928633"/>
                <a:gd name="connsiteY2" fmla="*/ 257442 h 257442"/>
                <a:gd name="connsiteX3" fmla="*/ 0 w 1928633"/>
                <a:gd name="connsiteY3" fmla="*/ 0 h 257442"/>
                <a:gd name="connsiteX0" fmla="*/ 1928633 w 1928633"/>
                <a:gd name="connsiteY0" fmla="*/ 0 h 257442"/>
                <a:gd name="connsiteX1" fmla="*/ 1873912 w 1928633"/>
                <a:gd name="connsiteY1" fmla="*/ 257442 h 257442"/>
                <a:gd name="connsiteX2" fmla="*/ 0 w 1928633"/>
                <a:gd name="connsiteY2" fmla="*/ 257442 h 257442"/>
                <a:gd name="connsiteX3" fmla="*/ 0 w 1928633"/>
                <a:gd name="connsiteY3" fmla="*/ 0 h 257442"/>
                <a:gd name="connsiteX0" fmla="*/ 2096948 w 2096948"/>
                <a:gd name="connsiteY0" fmla="*/ 0 h 257442"/>
                <a:gd name="connsiteX1" fmla="*/ 1873912 w 2096948"/>
                <a:gd name="connsiteY1" fmla="*/ 257442 h 257442"/>
                <a:gd name="connsiteX2" fmla="*/ 0 w 2096948"/>
                <a:gd name="connsiteY2" fmla="*/ 257442 h 257442"/>
                <a:gd name="connsiteX3" fmla="*/ 0 w 2096948"/>
                <a:gd name="connsiteY3" fmla="*/ 0 h 257442"/>
                <a:gd name="connsiteX0" fmla="*/ 2096948 w 2096948"/>
                <a:gd name="connsiteY0" fmla="*/ 0 h 257442"/>
                <a:gd name="connsiteX1" fmla="*/ 2042226 w 2096948"/>
                <a:gd name="connsiteY1" fmla="*/ 257442 h 257442"/>
                <a:gd name="connsiteX2" fmla="*/ 0 w 2096948"/>
                <a:gd name="connsiteY2" fmla="*/ 257442 h 257442"/>
                <a:gd name="connsiteX3" fmla="*/ 0 w 2096948"/>
                <a:gd name="connsiteY3" fmla="*/ 0 h 257442"/>
                <a:gd name="connsiteX0" fmla="*/ 2096949 w 2096949"/>
                <a:gd name="connsiteY0" fmla="*/ 0 h 257442"/>
                <a:gd name="connsiteX1" fmla="*/ 2042227 w 2096949"/>
                <a:gd name="connsiteY1" fmla="*/ 257442 h 257442"/>
                <a:gd name="connsiteX2" fmla="*/ 0 w 2096949"/>
                <a:gd name="connsiteY2" fmla="*/ 257442 h 257442"/>
                <a:gd name="connsiteX3" fmla="*/ 1 w 2096949"/>
                <a:gd name="connsiteY3" fmla="*/ 0 h 257442"/>
                <a:gd name="connsiteX0" fmla="*/ 2096949 w 2096949"/>
                <a:gd name="connsiteY0" fmla="*/ 0 h 257442"/>
                <a:gd name="connsiteX1" fmla="*/ 2042227 w 2096949"/>
                <a:gd name="connsiteY1" fmla="*/ 257442 h 257442"/>
                <a:gd name="connsiteX2" fmla="*/ 0 w 2096949"/>
                <a:gd name="connsiteY2" fmla="*/ 257442 h 257442"/>
                <a:gd name="connsiteX3" fmla="*/ 1 w 2096949"/>
                <a:gd name="connsiteY3" fmla="*/ 0 h 257442"/>
                <a:gd name="connsiteX0" fmla="*/ 2197938 w 2197938"/>
                <a:gd name="connsiteY0" fmla="*/ 0 h 257442"/>
                <a:gd name="connsiteX1" fmla="*/ 2042227 w 2197938"/>
                <a:gd name="connsiteY1" fmla="*/ 257442 h 257442"/>
                <a:gd name="connsiteX2" fmla="*/ 0 w 2197938"/>
                <a:gd name="connsiteY2" fmla="*/ 257442 h 257442"/>
                <a:gd name="connsiteX3" fmla="*/ 1 w 2197938"/>
                <a:gd name="connsiteY3" fmla="*/ 0 h 257442"/>
                <a:gd name="connsiteX0" fmla="*/ 2197938 w 2197938"/>
                <a:gd name="connsiteY0" fmla="*/ 0 h 257442"/>
                <a:gd name="connsiteX1" fmla="*/ 2143216 w 2197938"/>
                <a:gd name="connsiteY1" fmla="*/ 257442 h 257442"/>
                <a:gd name="connsiteX2" fmla="*/ 0 w 2197938"/>
                <a:gd name="connsiteY2" fmla="*/ 257442 h 257442"/>
                <a:gd name="connsiteX3" fmla="*/ 1 w 2197938"/>
                <a:gd name="connsiteY3" fmla="*/ 0 h 257442"/>
                <a:gd name="connsiteX0" fmla="*/ 2197938 w 2197938"/>
                <a:gd name="connsiteY0" fmla="*/ 0 h 257442"/>
                <a:gd name="connsiteX1" fmla="*/ 2143216 w 2197938"/>
                <a:gd name="connsiteY1" fmla="*/ 257442 h 257442"/>
                <a:gd name="connsiteX2" fmla="*/ 0 w 2197938"/>
                <a:gd name="connsiteY2" fmla="*/ 257442 h 257442"/>
                <a:gd name="connsiteX3" fmla="*/ 1 w 2197938"/>
                <a:gd name="connsiteY3" fmla="*/ 0 h 257442"/>
                <a:gd name="connsiteX0" fmla="*/ 2197938 w 2197938"/>
                <a:gd name="connsiteY0" fmla="*/ 0 h 257442"/>
                <a:gd name="connsiteX1" fmla="*/ 2143216 w 2197938"/>
                <a:gd name="connsiteY1" fmla="*/ 257442 h 257442"/>
                <a:gd name="connsiteX2" fmla="*/ 0 w 2197938"/>
                <a:gd name="connsiteY2" fmla="*/ 257442 h 257442"/>
                <a:gd name="connsiteX3" fmla="*/ 0 w 2197938"/>
                <a:gd name="connsiteY3" fmla="*/ 0 h 257442"/>
                <a:gd name="connsiteX0" fmla="*/ 2366252 w 2366252"/>
                <a:gd name="connsiteY0" fmla="*/ 0 h 257442"/>
                <a:gd name="connsiteX1" fmla="*/ 2143216 w 2366252"/>
                <a:gd name="connsiteY1" fmla="*/ 257442 h 257442"/>
                <a:gd name="connsiteX2" fmla="*/ 0 w 2366252"/>
                <a:gd name="connsiteY2" fmla="*/ 257442 h 257442"/>
                <a:gd name="connsiteX3" fmla="*/ 0 w 2366252"/>
                <a:gd name="connsiteY3" fmla="*/ 0 h 257442"/>
                <a:gd name="connsiteX0" fmla="*/ 2366252 w 2366252"/>
                <a:gd name="connsiteY0" fmla="*/ 0 h 257442"/>
                <a:gd name="connsiteX1" fmla="*/ 2311531 w 2366252"/>
                <a:gd name="connsiteY1" fmla="*/ 257442 h 257442"/>
                <a:gd name="connsiteX2" fmla="*/ 0 w 2366252"/>
                <a:gd name="connsiteY2" fmla="*/ 257442 h 257442"/>
                <a:gd name="connsiteX3" fmla="*/ 0 w 2366252"/>
                <a:gd name="connsiteY3" fmla="*/ 0 h 257442"/>
                <a:gd name="connsiteX0" fmla="*/ 2366252 w 2366252"/>
                <a:gd name="connsiteY0" fmla="*/ 0 h 257442"/>
                <a:gd name="connsiteX1" fmla="*/ 2311531 w 2366252"/>
                <a:gd name="connsiteY1" fmla="*/ 257442 h 257442"/>
                <a:gd name="connsiteX2" fmla="*/ 0 w 2366252"/>
                <a:gd name="connsiteY2" fmla="*/ 257442 h 257442"/>
                <a:gd name="connsiteX3" fmla="*/ 0 w 2366252"/>
                <a:gd name="connsiteY3" fmla="*/ 0 h 257442"/>
                <a:gd name="connsiteX0" fmla="*/ 2366252 w 2366252"/>
                <a:gd name="connsiteY0" fmla="*/ 0 h 257442"/>
                <a:gd name="connsiteX1" fmla="*/ 2311531 w 2366252"/>
                <a:gd name="connsiteY1" fmla="*/ 257442 h 257442"/>
                <a:gd name="connsiteX2" fmla="*/ 0 w 2366252"/>
                <a:gd name="connsiteY2" fmla="*/ 257442 h 257442"/>
                <a:gd name="connsiteX3" fmla="*/ 0 w 2366252"/>
                <a:gd name="connsiteY3" fmla="*/ 0 h 257442"/>
                <a:gd name="connsiteX0" fmla="*/ 2526553 w 2526553"/>
                <a:gd name="connsiteY0" fmla="*/ 0 h 257442"/>
                <a:gd name="connsiteX1" fmla="*/ 2311531 w 2526553"/>
                <a:gd name="connsiteY1" fmla="*/ 257442 h 257442"/>
                <a:gd name="connsiteX2" fmla="*/ 0 w 2526553"/>
                <a:gd name="connsiteY2" fmla="*/ 257442 h 257442"/>
                <a:gd name="connsiteX3" fmla="*/ 0 w 2526553"/>
                <a:gd name="connsiteY3" fmla="*/ 0 h 257442"/>
                <a:gd name="connsiteX0" fmla="*/ 2526553 w 2526553"/>
                <a:gd name="connsiteY0" fmla="*/ 0 h 257442"/>
                <a:gd name="connsiteX1" fmla="*/ 2471832 w 2526553"/>
                <a:gd name="connsiteY1" fmla="*/ 257442 h 257442"/>
                <a:gd name="connsiteX2" fmla="*/ 0 w 2526553"/>
                <a:gd name="connsiteY2" fmla="*/ 257442 h 257442"/>
                <a:gd name="connsiteX3" fmla="*/ 0 w 2526553"/>
                <a:gd name="connsiteY3" fmla="*/ 0 h 257442"/>
                <a:gd name="connsiteX0" fmla="*/ 2526553 w 2526553"/>
                <a:gd name="connsiteY0" fmla="*/ 0 h 257442"/>
                <a:gd name="connsiteX1" fmla="*/ 2471832 w 2526553"/>
                <a:gd name="connsiteY1" fmla="*/ 257442 h 257442"/>
                <a:gd name="connsiteX2" fmla="*/ 0 w 2526553"/>
                <a:gd name="connsiteY2" fmla="*/ 257442 h 257442"/>
                <a:gd name="connsiteX3" fmla="*/ 0 w 2526553"/>
                <a:gd name="connsiteY3" fmla="*/ 0 h 257442"/>
                <a:gd name="connsiteX0" fmla="*/ 2526553 w 2526553"/>
                <a:gd name="connsiteY0" fmla="*/ 0 h 257442"/>
                <a:gd name="connsiteX1" fmla="*/ 2471832 w 2526553"/>
                <a:gd name="connsiteY1" fmla="*/ 257442 h 257442"/>
                <a:gd name="connsiteX2" fmla="*/ 0 w 2526553"/>
                <a:gd name="connsiteY2" fmla="*/ 257442 h 257442"/>
                <a:gd name="connsiteX3" fmla="*/ 0 w 2526553"/>
                <a:gd name="connsiteY3" fmla="*/ 0 h 257442"/>
                <a:gd name="connsiteX0" fmla="*/ 2627542 w 2627542"/>
                <a:gd name="connsiteY0" fmla="*/ 0 h 257442"/>
                <a:gd name="connsiteX1" fmla="*/ 2471832 w 2627542"/>
                <a:gd name="connsiteY1" fmla="*/ 257442 h 257442"/>
                <a:gd name="connsiteX2" fmla="*/ 0 w 2627542"/>
                <a:gd name="connsiteY2" fmla="*/ 257442 h 257442"/>
                <a:gd name="connsiteX3" fmla="*/ 0 w 2627542"/>
                <a:gd name="connsiteY3" fmla="*/ 0 h 257442"/>
                <a:gd name="connsiteX0" fmla="*/ 2627542 w 2627542"/>
                <a:gd name="connsiteY0" fmla="*/ 0 h 257442"/>
                <a:gd name="connsiteX1" fmla="*/ 2572820 w 2627542"/>
                <a:gd name="connsiteY1" fmla="*/ 257442 h 257442"/>
                <a:gd name="connsiteX2" fmla="*/ 0 w 2627542"/>
                <a:gd name="connsiteY2" fmla="*/ 257442 h 257442"/>
                <a:gd name="connsiteX3" fmla="*/ 0 w 2627542"/>
                <a:gd name="connsiteY3" fmla="*/ 0 h 257442"/>
                <a:gd name="connsiteX0" fmla="*/ 2627543 w 2627543"/>
                <a:gd name="connsiteY0" fmla="*/ 0 h 257442"/>
                <a:gd name="connsiteX1" fmla="*/ 2572821 w 2627543"/>
                <a:gd name="connsiteY1" fmla="*/ 257442 h 257442"/>
                <a:gd name="connsiteX2" fmla="*/ 0 w 2627543"/>
                <a:gd name="connsiteY2" fmla="*/ 257442 h 257442"/>
                <a:gd name="connsiteX3" fmla="*/ 1 w 2627543"/>
                <a:gd name="connsiteY3" fmla="*/ 0 h 257442"/>
                <a:gd name="connsiteX0" fmla="*/ 2627543 w 2627543"/>
                <a:gd name="connsiteY0" fmla="*/ 0 h 257442"/>
                <a:gd name="connsiteX1" fmla="*/ 2572821 w 2627543"/>
                <a:gd name="connsiteY1" fmla="*/ 257442 h 257442"/>
                <a:gd name="connsiteX2" fmla="*/ 0 w 2627543"/>
                <a:gd name="connsiteY2" fmla="*/ 257442 h 257442"/>
                <a:gd name="connsiteX3" fmla="*/ 1 w 2627543"/>
                <a:gd name="connsiteY3" fmla="*/ 0 h 257442"/>
                <a:gd name="connsiteX0" fmla="*/ 2526554 w 2572821"/>
                <a:gd name="connsiteY0" fmla="*/ 0 h 257442"/>
                <a:gd name="connsiteX1" fmla="*/ 2572821 w 2572821"/>
                <a:gd name="connsiteY1" fmla="*/ 257442 h 257442"/>
                <a:gd name="connsiteX2" fmla="*/ 0 w 2572821"/>
                <a:gd name="connsiteY2" fmla="*/ 257442 h 257442"/>
                <a:gd name="connsiteX3" fmla="*/ 1 w 2572821"/>
                <a:gd name="connsiteY3" fmla="*/ 0 h 257442"/>
                <a:gd name="connsiteX0" fmla="*/ 2526554 w 2526554"/>
                <a:gd name="connsiteY0" fmla="*/ 0 h 257442"/>
                <a:gd name="connsiteX1" fmla="*/ 2471833 w 2526554"/>
                <a:gd name="connsiteY1" fmla="*/ 257442 h 257442"/>
                <a:gd name="connsiteX2" fmla="*/ 0 w 2526554"/>
                <a:gd name="connsiteY2" fmla="*/ 257442 h 257442"/>
                <a:gd name="connsiteX3" fmla="*/ 1 w 2526554"/>
                <a:gd name="connsiteY3" fmla="*/ 0 h 257442"/>
                <a:gd name="connsiteX0" fmla="*/ 2526553 w 2526553"/>
                <a:gd name="connsiteY0" fmla="*/ 0 h 257442"/>
                <a:gd name="connsiteX1" fmla="*/ 2471832 w 2526553"/>
                <a:gd name="connsiteY1" fmla="*/ 257442 h 257442"/>
                <a:gd name="connsiteX2" fmla="*/ 0 w 2526553"/>
                <a:gd name="connsiteY2" fmla="*/ 257442 h 257442"/>
                <a:gd name="connsiteX3" fmla="*/ 0 w 2526553"/>
                <a:gd name="connsiteY3" fmla="*/ 0 h 257442"/>
                <a:gd name="connsiteX0" fmla="*/ 2526553 w 2526553"/>
                <a:gd name="connsiteY0" fmla="*/ 0 h 257442"/>
                <a:gd name="connsiteX1" fmla="*/ 2471832 w 2526553"/>
                <a:gd name="connsiteY1" fmla="*/ 257442 h 257442"/>
                <a:gd name="connsiteX2" fmla="*/ 0 w 2526553"/>
                <a:gd name="connsiteY2" fmla="*/ 257442 h 257442"/>
                <a:gd name="connsiteX3" fmla="*/ 0 w 2526553"/>
                <a:gd name="connsiteY3" fmla="*/ 0 h 257442"/>
                <a:gd name="connsiteX0" fmla="*/ 2704486 w 2704486"/>
                <a:gd name="connsiteY0" fmla="*/ 0 h 257442"/>
                <a:gd name="connsiteX1" fmla="*/ 2471832 w 2704486"/>
                <a:gd name="connsiteY1" fmla="*/ 257442 h 257442"/>
                <a:gd name="connsiteX2" fmla="*/ 0 w 2704486"/>
                <a:gd name="connsiteY2" fmla="*/ 257442 h 257442"/>
                <a:gd name="connsiteX3" fmla="*/ 0 w 2704486"/>
                <a:gd name="connsiteY3" fmla="*/ 0 h 257442"/>
                <a:gd name="connsiteX0" fmla="*/ 2704486 w 2704486"/>
                <a:gd name="connsiteY0" fmla="*/ 0 h 257442"/>
                <a:gd name="connsiteX1" fmla="*/ 2649764 w 2704486"/>
                <a:gd name="connsiteY1" fmla="*/ 257442 h 257442"/>
                <a:gd name="connsiteX2" fmla="*/ 0 w 2704486"/>
                <a:gd name="connsiteY2" fmla="*/ 257442 h 257442"/>
                <a:gd name="connsiteX3" fmla="*/ 0 w 2704486"/>
                <a:gd name="connsiteY3" fmla="*/ 0 h 257442"/>
                <a:gd name="connsiteX0" fmla="*/ 2704487 w 2704487"/>
                <a:gd name="connsiteY0" fmla="*/ 0 h 257442"/>
                <a:gd name="connsiteX1" fmla="*/ 2649765 w 2704487"/>
                <a:gd name="connsiteY1" fmla="*/ 257442 h 257442"/>
                <a:gd name="connsiteX2" fmla="*/ 0 w 2704487"/>
                <a:gd name="connsiteY2" fmla="*/ 257442 h 257442"/>
                <a:gd name="connsiteX3" fmla="*/ 1 w 2704487"/>
                <a:gd name="connsiteY3" fmla="*/ 0 h 257442"/>
                <a:gd name="connsiteX0" fmla="*/ 2704487 w 2704487"/>
                <a:gd name="connsiteY0" fmla="*/ 0 h 257442"/>
                <a:gd name="connsiteX1" fmla="*/ 2649765 w 2704487"/>
                <a:gd name="connsiteY1" fmla="*/ 257442 h 257442"/>
                <a:gd name="connsiteX2" fmla="*/ 0 w 2704487"/>
                <a:gd name="connsiteY2" fmla="*/ 257442 h 257442"/>
                <a:gd name="connsiteX3" fmla="*/ 1 w 2704487"/>
                <a:gd name="connsiteY3" fmla="*/ 0 h 257442"/>
                <a:gd name="connsiteX0" fmla="*/ 2856772 w 2856772"/>
                <a:gd name="connsiteY0" fmla="*/ 0 h 257442"/>
                <a:gd name="connsiteX1" fmla="*/ 2649765 w 2856772"/>
                <a:gd name="connsiteY1" fmla="*/ 257442 h 257442"/>
                <a:gd name="connsiteX2" fmla="*/ 0 w 2856772"/>
                <a:gd name="connsiteY2" fmla="*/ 257442 h 257442"/>
                <a:gd name="connsiteX3" fmla="*/ 1 w 2856772"/>
                <a:gd name="connsiteY3" fmla="*/ 0 h 257442"/>
                <a:gd name="connsiteX0" fmla="*/ 2856772 w 2856772"/>
                <a:gd name="connsiteY0" fmla="*/ 0 h 257442"/>
                <a:gd name="connsiteX1" fmla="*/ 2802050 w 2856772"/>
                <a:gd name="connsiteY1" fmla="*/ 257442 h 257442"/>
                <a:gd name="connsiteX2" fmla="*/ 0 w 2856772"/>
                <a:gd name="connsiteY2" fmla="*/ 257442 h 257442"/>
                <a:gd name="connsiteX3" fmla="*/ 1 w 2856772"/>
                <a:gd name="connsiteY3" fmla="*/ 0 h 257442"/>
                <a:gd name="connsiteX0" fmla="*/ 2856772 w 2856772"/>
                <a:gd name="connsiteY0" fmla="*/ 0 h 257442"/>
                <a:gd name="connsiteX1" fmla="*/ 2802050 w 2856772"/>
                <a:gd name="connsiteY1" fmla="*/ 257442 h 257442"/>
                <a:gd name="connsiteX2" fmla="*/ 0 w 2856772"/>
                <a:gd name="connsiteY2" fmla="*/ 257442 h 257442"/>
                <a:gd name="connsiteX3" fmla="*/ 1 w 2856772"/>
                <a:gd name="connsiteY3" fmla="*/ 0 h 257442"/>
                <a:gd name="connsiteX0" fmla="*/ 2856772 w 2856772"/>
                <a:gd name="connsiteY0" fmla="*/ 0 h 257442"/>
                <a:gd name="connsiteX1" fmla="*/ 2802050 w 2856772"/>
                <a:gd name="connsiteY1" fmla="*/ 257442 h 257442"/>
                <a:gd name="connsiteX2" fmla="*/ 0 w 2856772"/>
                <a:gd name="connsiteY2" fmla="*/ 257442 h 257442"/>
                <a:gd name="connsiteX3" fmla="*/ 0 w 2856772"/>
                <a:gd name="connsiteY3" fmla="*/ 0 h 257442"/>
                <a:gd name="connsiteX0" fmla="*/ 2957761 w 2957761"/>
                <a:gd name="connsiteY0" fmla="*/ 0 h 257442"/>
                <a:gd name="connsiteX1" fmla="*/ 2802050 w 2957761"/>
                <a:gd name="connsiteY1" fmla="*/ 257442 h 257442"/>
                <a:gd name="connsiteX2" fmla="*/ 0 w 2957761"/>
                <a:gd name="connsiteY2" fmla="*/ 257442 h 257442"/>
                <a:gd name="connsiteX3" fmla="*/ 0 w 2957761"/>
                <a:gd name="connsiteY3" fmla="*/ 0 h 257442"/>
                <a:gd name="connsiteX0" fmla="*/ 2957761 w 2957761"/>
                <a:gd name="connsiteY0" fmla="*/ 0 h 257442"/>
                <a:gd name="connsiteX1" fmla="*/ 2903040 w 2957761"/>
                <a:gd name="connsiteY1" fmla="*/ 257442 h 257442"/>
                <a:gd name="connsiteX2" fmla="*/ 0 w 2957761"/>
                <a:gd name="connsiteY2" fmla="*/ 257442 h 257442"/>
                <a:gd name="connsiteX3" fmla="*/ 0 w 2957761"/>
                <a:gd name="connsiteY3" fmla="*/ 0 h 257442"/>
                <a:gd name="connsiteX0" fmla="*/ 2957761 w 2957761"/>
                <a:gd name="connsiteY0" fmla="*/ 0 h 257442"/>
                <a:gd name="connsiteX1" fmla="*/ 2903040 w 2957761"/>
                <a:gd name="connsiteY1" fmla="*/ 257442 h 257442"/>
                <a:gd name="connsiteX2" fmla="*/ 0 w 2957761"/>
                <a:gd name="connsiteY2" fmla="*/ 257442 h 257442"/>
                <a:gd name="connsiteX3" fmla="*/ 0 w 2957761"/>
                <a:gd name="connsiteY3" fmla="*/ 0 h 257442"/>
                <a:gd name="connsiteX0" fmla="*/ 2957761 w 2957761"/>
                <a:gd name="connsiteY0" fmla="*/ 0 h 257442"/>
                <a:gd name="connsiteX1" fmla="*/ 2903040 w 2957761"/>
                <a:gd name="connsiteY1" fmla="*/ 257442 h 257442"/>
                <a:gd name="connsiteX2" fmla="*/ 0 w 2957761"/>
                <a:gd name="connsiteY2" fmla="*/ 257442 h 257442"/>
                <a:gd name="connsiteX3" fmla="*/ 0 w 2957761"/>
                <a:gd name="connsiteY3" fmla="*/ 0 h 257442"/>
                <a:gd name="connsiteX0" fmla="*/ 3058750 w 3058750"/>
                <a:gd name="connsiteY0" fmla="*/ 0 h 257442"/>
                <a:gd name="connsiteX1" fmla="*/ 2903040 w 3058750"/>
                <a:gd name="connsiteY1" fmla="*/ 257442 h 257442"/>
                <a:gd name="connsiteX2" fmla="*/ 0 w 3058750"/>
                <a:gd name="connsiteY2" fmla="*/ 257442 h 257442"/>
                <a:gd name="connsiteX3" fmla="*/ 0 w 3058750"/>
                <a:gd name="connsiteY3" fmla="*/ 0 h 257442"/>
                <a:gd name="connsiteX0" fmla="*/ 3058750 w 3058750"/>
                <a:gd name="connsiteY0" fmla="*/ 0 h 257442"/>
                <a:gd name="connsiteX1" fmla="*/ 3004028 w 3058750"/>
                <a:gd name="connsiteY1" fmla="*/ 257442 h 257442"/>
                <a:gd name="connsiteX2" fmla="*/ 0 w 3058750"/>
                <a:gd name="connsiteY2" fmla="*/ 257442 h 257442"/>
                <a:gd name="connsiteX3" fmla="*/ 0 w 3058750"/>
                <a:gd name="connsiteY3" fmla="*/ 0 h 257442"/>
                <a:gd name="connsiteX0" fmla="*/ 3058751 w 3058751"/>
                <a:gd name="connsiteY0" fmla="*/ 0 h 257442"/>
                <a:gd name="connsiteX1" fmla="*/ 3004029 w 3058751"/>
                <a:gd name="connsiteY1" fmla="*/ 257442 h 257442"/>
                <a:gd name="connsiteX2" fmla="*/ 0 w 3058751"/>
                <a:gd name="connsiteY2" fmla="*/ 257442 h 257442"/>
                <a:gd name="connsiteX3" fmla="*/ 1 w 3058751"/>
                <a:gd name="connsiteY3" fmla="*/ 0 h 257442"/>
                <a:gd name="connsiteX0" fmla="*/ 3058751 w 3058751"/>
                <a:gd name="connsiteY0" fmla="*/ 0 h 257442"/>
                <a:gd name="connsiteX1" fmla="*/ 3004029 w 3058751"/>
                <a:gd name="connsiteY1" fmla="*/ 257442 h 257442"/>
                <a:gd name="connsiteX2" fmla="*/ 0 w 3058751"/>
                <a:gd name="connsiteY2" fmla="*/ 257442 h 257442"/>
                <a:gd name="connsiteX3" fmla="*/ 1 w 3058751"/>
                <a:gd name="connsiteY3" fmla="*/ 0 h 257442"/>
                <a:gd name="connsiteX0" fmla="*/ 3219051 w 3219051"/>
                <a:gd name="connsiteY0" fmla="*/ 0 h 257442"/>
                <a:gd name="connsiteX1" fmla="*/ 3004029 w 3219051"/>
                <a:gd name="connsiteY1" fmla="*/ 257442 h 257442"/>
                <a:gd name="connsiteX2" fmla="*/ 0 w 3219051"/>
                <a:gd name="connsiteY2" fmla="*/ 257442 h 257442"/>
                <a:gd name="connsiteX3" fmla="*/ 1 w 3219051"/>
                <a:gd name="connsiteY3" fmla="*/ 0 h 257442"/>
                <a:gd name="connsiteX0" fmla="*/ 3219051 w 3219051"/>
                <a:gd name="connsiteY0" fmla="*/ 0 h 257442"/>
                <a:gd name="connsiteX1" fmla="*/ 3164330 w 3219051"/>
                <a:gd name="connsiteY1" fmla="*/ 257442 h 257442"/>
                <a:gd name="connsiteX2" fmla="*/ 0 w 3219051"/>
                <a:gd name="connsiteY2" fmla="*/ 257442 h 257442"/>
                <a:gd name="connsiteX3" fmla="*/ 1 w 3219051"/>
                <a:gd name="connsiteY3" fmla="*/ 0 h 257442"/>
                <a:gd name="connsiteX0" fmla="*/ 3219050 w 3219050"/>
                <a:gd name="connsiteY0" fmla="*/ 0 h 257442"/>
                <a:gd name="connsiteX1" fmla="*/ 3164329 w 3219050"/>
                <a:gd name="connsiteY1" fmla="*/ 257442 h 257442"/>
                <a:gd name="connsiteX2" fmla="*/ 0 w 3219050"/>
                <a:gd name="connsiteY2" fmla="*/ 257442 h 257442"/>
                <a:gd name="connsiteX3" fmla="*/ 0 w 3219050"/>
                <a:gd name="connsiteY3" fmla="*/ 0 h 257442"/>
                <a:gd name="connsiteX0" fmla="*/ 3219051 w 3219051"/>
                <a:gd name="connsiteY0" fmla="*/ 0 h 257442"/>
                <a:gd name="connsiteX1" fmla="*/ 3164330 w 3219051"/>
                <a:gd name="connsiteY1" fmla="*/ 257442 h 257442"/>
                <a:gd name="connsiteX2" fmla="*/ 1 w 3219051"/>
                <a:gd name="connsiteY2" fmla="*/ 257442 h 257442"/>
                <a:gd name="connsiteX3" fmla="*/ 0 w 3219051"/>
                <a:gd name="connsiteY3" fmla="*/ 0 h 257442"/>
                <a:gd name="connsiteX0" fmla="*/ 3371337 w 3371337"/>
                <a:gd name="connsiteY0" fmla="*/ 0 h 257442"/>
                <a:gd name="connsiteX1" fmla="*/ 3164330 w 3371337"/>
                <a:gd name="connsiteY1" fmla="*/ 257442 h 257442"/>
                <a:gd name="connsiteX2" fmla="*/ 1 w 3371337"/>
                <a:gd name="connsiteY2" fmla="*/ 257442 h 257442"/>
                <a:gd name="connsiteX3" fmla="*/ 0 w 3371337"/>
                <a:gd name="connsiteY3" fmla="*/ 0 h 257442"/>
                <a:gd name="connsiteX0" fmla="*/ 3371337 w 3371337"/>
                <a:gd name="connsiteY0" fmla="*/ 0 h 257442"/>
                <a:gd name="connsiteX1" fmla="*/ 3316616 w 3371337"/>
                <a:gd name="connsiteY1" fmla="*/ 257442 h 257442"/>
                <a:gd name="connsiteX2" fmla="*/ 1 w 3371337"/>
                <a:gd name="connsiteY2" fmla="*/ 257442 h 257442"/>
                <a:gd name="connsiteX3" fmla="*/ 0 w 3371337"/>
                <a:gd name="connsiteY3" fmla="*/ 0 h 257442"/>
                <a:gd name="connsiteX0" fmla="*/ 3371337 w 3371337"/>
                <a:gd name="connsiteY0" fmla="*/ 0 h 257442"/>
                <a:gd name="connsiteX1" fmla="*/ 3316616 w 3371337"/>
                <a:gd name="connsiteY1" fmla="*/ 257442 h 257442"/>
                <a:gd name="connsiteX2" fmla="*/ 1 w 3371337"/>
                <a:gd name="connsiteY2" fmla="*/ 257442 h 257442"/>
                <a:gd name="connsiteX3" fmla="*/ 0 w 3371337"/>
                <a:gd name="connsiteY3" fmla="*/ 0 h 257442"/>
                <a:gd name="connsiteX0" fmla="*/ 3371336 w 3371336"/>
                <a:gd name="connsiteY0" fmla="*/ 0 h 257442"/>
                <a:gd name="connsiteX1" fmla="*/ 3316615 w 3371336"/>
                <a:gd name="connsiteY1" fmla="*/ 257442 h 257442"/>
                <a:gd name="connsiteX2" fmla="*/ 0 w 3371336"/>
                <a:gd name="connsiteY2" fmla="*/ 257442 h 257442"/>
                <a:gd name="connsiteX3" fmla="*/ 0 w 3371336"/>
                <a:gd name="connsiteY3" fmla="*/ 0 h 257442"/>
                <a:gd name="connsiteX0" fmla="*/ 3539649 w 3539649"/>
                <a:gd name="connsiteY0" fmla="*/ 0 h 257442"/>
                <a:gd name="connsiteX1" fmla="*/ 3316615 w 3539649"/>
                <a:gd name="connsiteY1" fmla="*/ 257442 h 257442"/>
                <a:gd name="connsiteX2" fmla="*/ 0 w 3539649"/>
                <a:gd name="connsiteY2" fmla="*/ 257442 h 257442"/>
                <a:gd name="connsiteX3" fmla="*/ 0 w 3539649"/>
                <a:gd name="connsiteY3" fmla="*/ 0 h 257442"/>
                <a:gd name="connsiteX0" fmla="*/ 3539649 w 3539649"/>
                <a:gd name="connsiteY0" fmla="*/ 0 h 257442"/>
                <a:gd name="connsiteX1" fmla="*/ 3484928 w 3539649"/>
                <a:gd name="connsiteY1" fmla="*/ 257442 h 257442"/>
                <a:gd name="connsiteX2" fmla="*/ 0 w 3539649"/>
                <a:gd name="connsiteY2" fmla="*/ 257442 h 257442"/>
                <a:gd name="connsiteX3" fmla="*/ 0 w 3539649"/>
                <a:gd name="connsiteY3" fmla="*/ 0 h 257442"/>
                <a:gd name="connsiteX0" fmla="*/ 3539650 w 3539650"/>
                <a:gd name="connsiteY0" fmla="*/ 0 h 257442"/>
                <a:gd name="connsiteX1" fmla="*/ 3484929 w 3539650"/>
                <a:gd name="connsiteY1" fmla="*/ 257442 h 257442"/>
                <a:gd name="connsiteX2" fmla="*/ 0 w 3539650"/>
                <a:gd name="connsiteY2" fmla="*/ 257442 h 257442"/>
                <a:gd name="connsiteX3" fmla="*/ 1 w 3539650"/>
                <a:gd name="connsiteY3" fmla="*/ 0 h 257442"/>
                <a:gd name="connsiteX0" fmla="*/ 3539650 w 3539650"/>
                <a:gd name="connsiteY0" fmla="*/ 0 h 257442"/>
                <a:gd name="connsiteX1" fmla="*/ 3484929 w 3539650"/>
                <a:gd name="connsiteY1" fmla="*/ 257442 h 257442"/>
                <a:gd name="connsiteX2" fmla="*/ 0 w 3539650"/>
                <a:gd name="connsiteY2" fmla="*/ 257442 h 257442"/>
                <a:gd name="connsiteX3" fmla="*/ 0 w 3539650"/>
                <a:gd name="connsiteY3" fmla="*/ 0 h 257442"/>
                <a:gd name="connsiteX0" fmla="*/ 3707966 w 3707966"/>
                <a:gd name="connsiteY0" fmla="*/ 0 h 257442"/>
                <a:gd name="connsiteX1" fmla="*/ 3484929 w 3707966"/>
                <a:gd name="connsiteY1" fmla="*/ 257442 h 257442"/>
                <a:gd name="connsiteX2" fmla="*/ 0 w 3707966"/>
                <a:gd name="connsiteY2" fmla="*/ 257442 h 257442"/>
                <a:gd name="connsiteX3" fmla="*/ 0 w 3707966"/>
                <a:gd name="connsiteY3" fmla="*/ 0 h 257442"/>
                <a:gd name="connsiteX0" fmla="*/ 3707966 w 3707966"/>
                <a:gd name="connsiteY0" fmla="*/ 0 h 257442"/>
                <a:gd name="connsiteX1" fmla="*/ 3653245 w 3707966"/>
                <a:gd name="connsiteY1" fmla="*/ 257442 h 257442"/>
                <a:gd name="connsiteX2" fmla="*/ 0 w 3707966"/>
                <a:gd name="connsiteY2" fmla="*/ 257442 h 257442"/>
                <a:gd name="connsiteX3" fmla="*/ 0 w 3707966"/>
                <a:gd name="connsiteY3" fmla="*/ 0 h 257442"/>
                <a:gd name="connsiteX0" fmla="*/ 3707966 w 3707966"/>
                <a:gd name="connsiteY0" fmla="*/ 0 h 257442"/>
                <a:gd name="connsiteX1" fmla="*/ 3653245 w 3707966"/>
                <a:gd name="connsiteY1" fmla="*/ 257442 h 257442"/>
                <a:gd name="connsiteX2" fmla="*/ 0 w 3707966"/>
                <a:gd name="connsiteY2" fmla="*/ 257442 h 257442"/>
                <a:gd name="connsiteX3" fmla="*/ 0 w 3707966"/>
                <a:gd name="connsiteY3" fmla="*/ 0 h 257442"/>
                <a:gd name="connsiteX0" fmla="*/ 3707966 w 3707966"/>
                <a:gd name="connsiteY0" fmla="*/ 0 h 257442"/>
                <a:gd name="connsiteX1" fmla="*/ 3653245 w 3707966"/>
                <a:gd name="connsiteY1" fmla="*/ 257442 h 257442"/>
                <a:gd name="connsiteX2" fmla="*/ 0 w 3707966"/>
                <a:gd name="connsiteY2" fmla="*/ 257442 h 257442"/>
                <a:gd name="connsiteX3" fmla="*/ 0 w 3707966"/>
                <a:gd name="connsiteY3" fmla="*/ 0 h 257442"/>
                <a:gd name="connsiteX0" fmla="*/ 3868266 w 3868266"/>
                <a:gd name="connsiteY0" fmla="*/ 0 h 257442"/>
                <a:gd name="connsiteX1" fmla="*/ 3653245 w 3868266"/>
                <a:gd name="connsiteY1" fmla="*/ 257442 h 257442"/>
                <a:gd name="connsiteX2" fmla="*/ 0 w 3868266"/>
                <a:gd name="connsiteY2" fmla="*/ 257442 h 257442"/>
                <a:gd name="connsiteX3" fmla="*/ 0 w 3868266"/>
                <a:gd name="connsiteY3" fmla="*/ 0 h 257442"/>
                <a:gd name="connsiteX0" fmla="*/ 3868266 w 3868266"/>
                <a:gd name="connsiteY0" fmla="*/ 0 h 257442"/>
                <a:gd name="connsiteX1" fmla="*/ 3813545 w 3868266"/>
                <a:gd name="connsiteY1" fmla="*/ 257442 h 257442"/>
                <a:gd name="connsiteX2" fmla="*/ 0 w 3868266"/>
                <a:gd name="connsiteY2" fmla="*/ 257442 h 257442"/>
                <a:gd name="connsiteX3" fmla="*/ 0 w 3868266"/>
                <a:gd name="connsiteY3" fmla="*/ 0 h 257442"/>
                <a:gd name="connsiteX0" fmla="*/ 3868266 w 3868266"/>
                <a:gd name="connsiteY0" fmla="*/ 0 h 257442"/>
                <a:gd name="connsiteX1" fmla="*/ 3813545 w 3868266"/>
                <a:gd name="connsiteY1" fmla="*/ 257442 h 257442"/>
                <a:gd name="connsiteX2" fmla="*/ 0 w 3868266"/>
                <a:gd name="connsiteY2" fmla="*/ 257442 h 257442"/>
                <a:gd name="connsiteX3" fmla="*/ 0 w 3868266"/>
                <a:gd name="connsiteY3" fmla="*/ 0 h 257442"/>
                <a:gd name="connsiteX0" fmla="*/ 3868266 w 3868266"/>
                <a:gd name="connsiteY0" fmla="*/ 0 h 257442"/>
                <a:gd name="connsiteX1" fmla="*/ 3813545 w 3868266"/>
                <a:gd name="connsiteY1" fmla="*/ 257442 h 257442"/>
                <a:gd name="connsiteX2" fmla="*/ 0 w 3868266"/>
                <a:gd name="connsiteY2" fmla="*/ 257442 h 257442"/>
                <a:gd name="connsiteX3" fmla="*/ 0 w 3868266"/>
                <a:gd name="connsiteY3" fmla="*/ 0 h 257442"/>
                <a:gd name="connsiteX0" fmla="*/ 4036581 w 4036581"/>
                <a:gd name="connsiteY0" fmla="*/ 0 h 257442"/>
                <a:gd name="connsiteX1" fmla="*/ 3813545 w 4036581"/>
                <a:gd name="connsiteY1" fmla="*/ 257442 h 257442"/>
                <a:gd name="connsiteX2" fmla="*/ 0 w 4036581"/>
                <a:gd name="connsiteY2" fmla="*/ 257442 h 257442"/>
                <a:gd name="connsiteX3" fmla="*/ 0 w 4036581"/>
                <a:gd name="connsiteY3" fmla="*/ 0 h 257442"/>
                <a:gd name="connsiteX0" fmla="*/ 4036581 w 4036581"/>
                <a:gd name="connsiteY0" fmla="*/ 0 h 257442"/>
                <a:gd name="connsiteX1" fmla="*/ 3981860 w 4036581"/>
                <a:gd name="connsiteY1" fmla="*/ 257442 h 257442"/>
                <a:gd name="connsiteX2" fmla="*/ 0 w 4036581"/>
                <a:gd name="connsiteY2" fmla="*/ 257442 h 257442"/>
                <a:gd name="connsiteX3" fmla="*/ 0 w 4036581"/>
                <a:gd name="connsiteY3" fmla="*/ 0 h 257442"/>
                <a:gd name="connsiteX0" fmla="*/ 4036581 w 4036581"/>
                <a:gd name="connsiteY0" fmla="*/ 0 h 257442"/>
                <a:gd name="connsiteX1" fmla="*/ 3981860 w 4036581"/>
                <a:gd name="connsiteY1" fmla="*/ 257442 h 257442"/>
                <a:gd name="connsiteX2" fmla="*/ 0 w 4036581"/>
                <a:gd name="connsiteY2" fmla="*/ 257442 h 257442"/>
                <a:gd name="connsiteX3" fmla="*/ 0 w 4036581"/>
                <a:gd name="connsiteY3" fmla="*/ 0 h 257442"/>
                <a:gd name="connsiteX0" fmla="*/ 4036581 w 4036581"/>
                <a:gd name="connsiteY0" fmla="*/ 0 h 257442"/>
                <a:gd name="connsiteX1" fmla="*/ 3981860 w 4036581"/>
                <a:gd name="connsiteY1" fmla="*/ 257442 h 257442"/>
                <a:gd name="connsiteX2" fmla="*/ 0 w 4036581"/>
                <a:gd name="connsiteY2" fmla="*/ 257442 h 257442"/>
                <a:gd name="connsiteX3" fmla="*/ 0 w 4036581"/>
                <a:gd name="connsiteY3" fmla="*/ 0 h 257442"/>
                <a:gd name="connsiteX0" fmla="*/ 4188867 w 4188867"/>
                <a:gd name="connsiteY0" fmla="*/ 0 h 257442"/>
                <a:gd name="connsiteX1" fmla="*/ 3981860 w 4188867"/>
                <a:gd name="connsiteY1" fmla="*/ 257442 h 257442"/>
                <a:gd name="connsiteX2" fmla="*/ 0 w 4188867"/>
                <a:gd name="connsiteY2" fmla="*/ 257442 h 257442"/>
                <a:gd name="connsiteX3" fmla="*/ 0 w 4188867"/>
                <a:gd name="connsiteY3" fmla="*/ 0 h 257442"/>
                <a:gd name="connsiteX0" fmla="*/ 4188867 w 4188867"/>
                <a:gd name="connsiteY0" fmla="*/ 0 h 257442"/>
                <a:gd name="connsiteX1" fmla="*/ 4134146 w 4188867"/>
                <a:gd name="connsiteY1" fmla="*/ 257442 h 257442"/>
                <a:gd name="connsiteX2" fmla="*/ 0 w 4188867"/>
                <a:gd name="connsiteY2" fmla="*/ 257442 h 257442"/>
                <a:gd name="connsiteX3" fmla="*/ 0 w 4188867"/>
                <a:gd name="connsiteY3" fmla="*/ 0 h 257442"/>
                <a:gd name="connsiteX0" fmla="*/ 4188867 w 4188867"/>
                <a:gd name="connsiteY0" fmla="*/ 0 h 257442"/>
                <a:gd name="connsiteX1" fmla="*/ 4134146 w 4188867"/>
                <a:gd name="connsiteY1" fmla="*/ 257442 h 257442"/>
                <a:gd name="connsiteX2" fmla="*/ 0 w 4188867"/>
                <a:gd name="connsiteY2" fmla="*/ 257442 h 257442"/>
                <a:gd name="connsiteX3" fmla="*/ 0 w 4188867"/>
                <a:gd name="connsiteY3" fmla="*/ 0 h 257442"/>
                <a:gd name="connsiteX0" fmla="*/ 4188867 w 4188867"/>
                <a:gd name="connsiteY0" fmla="*/ 0 h 257442"/>
                <a:gd name="connsiteX1" fmla="*/ 4134146 w 4188867"/>
                <a:gd name="connsiteY1" fmla="*/ 257442 h 257442"/>
                <a:gd name="connsiteX2" fmla="*/ 0 w 4188867"/>
                <a:gd name="connsiteY2" fmla="*/ 257442 h 257442"/>
                <a:gd name="connsiteX3" fmla="*/ 0 w 4188867"/>
                <a:gd name="connsiteY3" fmla="*/ 0 h 257442"/>
                <a:gd name="connsiteX0" fmla="*/ 4289856 w 4289856"/>
                <a:gd name="connsiteY0" fmla="*/ 0 h 257442"/>
                <a:gd name="connsiteX1" fmla="*/ 4134146 w 4289856"/>
                <a:gd name="connsiteY1" fmla="*/ 257442 h 257442"/>
                <a:gd name="connsiteX2" fmla="*/ 0 w 4289856"/>
                <a:gd name="connsiteY2" fmla="*/ 257442 h 257442"/>
                <a:gd name="connsiteX3" fmla="*/ 0 w 4289856"/>
                <a:gd name="connsiteY3" fmla="*/ 0 h 257442"/>
                <a:gd name="connsiteX0" fmla="*/ 4289856 w 4289856"/>
                <a:gd name="connsiteY0" fmla="*/ 0 h 257442"/>
                <a:gd name="connsiteX1" fmla="*/ 4235134 w 4289856"/>
                <a:gd name="connsiteY1" fmla="*/ 257442 h 257442"/>
                <a:gd name="connsiteX2" fmla="*/ 0 w 4289856"/>
                <a:gd name="connsiteY2" fmla="*/ 257442 h 257442"/>
                <a:gd name="connsiteX3" fmla="*/ 0 w 4289856"/>
                <a:gd name="connsiteY3" fmla="*/ 0 h 257442"/>
                <a:gd name="connsiteX0" fmla="*/ 4289857 w 4289857"/>
                <a:gd name="connsiteY0" fmla="*/ 0 h 257442"/>
                <a:gd name="connsiteX1" fmla="*/ 4235135 w 4289857"/>
                <a:gd name="connsiteY1" fmla="*/ 257442 h 257442"/>
                <a:gd name="connsiteX2" fmla="*/ 0 w 4289857"/>
                <a:gd name="connsiteY2" fmla="*/ 257442 h 257442"/>
                <a:gd name="connsiteX3" fmla="*/ 1 w 4289857"/>
                <a:gd name="connsiteY3" fmla="*/ 0 h 257442"/>
                <a:gd name="connsiteX0" fmla="*/ 4289857 w 4289857"/>
                <a:gd name="connsiteY0" fmla="*/ 0 h 257442"/>
                <a:gd name="connsiteX1" fmla="*/ 4235135 w 4289857"/>
                <a:gd name="connsiteY1" fmla="*/ 257442 h 257442"/>
                <a:gd name="connsiteX2" fmla="*/ 0 w 4289857"/>
                <a:gd name="connsiteY2" fmla="*/ 257442 h 257442"/>
                <a:gd name="connsiteX3" fmla="*/ 1 w 4289857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89857" h="257442">
                  <a:moveTo>
                    <a:pt x="4289857" y="0"/>
                  </a:moveTo>
                  <a:lnTo>
                    <a:pt x="4235135" y="257442"/>
                  </a:lnTo>
                  <a:lnTo>
                    <a:pt x="0" y="25744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dirty="0">
                <a:solidFill>
                  <a:schemeClr val="tx1"/>
                </a:solidFill>
              </a:endParaRPr>
            </a:p>
          </p:txBody>
        </p:sp>
        <p:sp>
          <p:nvSpPr>
            <p:cNvPr id="53" name="btfpRunningAgenda2LevelTextLeft587740">
              <a:extLst>
                <a:ext uri="{FF2B5EF4-FFF2-40B4-BE49-F238E27FC236}">
                  <a16:creationId xmlns:a16="http://schemas.microsoft.com/office/drawing/2014/main" id="{8C7395C9-9855-46D5-8C89-D774080C0A4E}"/>
                </a:ext>
              </a:extLst>
            </p:cNvPr>
            <p:cNvSpPr txBox="1"/>
            <p:nvPr/>
          </p:nvSpPr>
          <p:spPr bwMode="gray">
            <a:xfrm>
              <a:off x="0" y="876300"/>
              <a:ext cx="4235135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it-IT" sz="1200" b="1" cap="all" spc="450" dirty="0">
                  <a:solidFill>
                    <a:srgbClr val="FFFFFF"/>
                  </a:solidFill>
                </a:rPr>
                <a:t>Partnership con </a:t>
              </a:r>
              <a:r>
                <a:rPr lang="it-IT" sz="1200" b="1" cap="all" spc="450" dirty="0" err="1">
                  <a:solidFill>
                    <a:srgbClr val="FFFFFF"/>
                  </a:solidFill>
                </a:rPr>
                <a:t>agidae</a:t>
              </a:r>
              <a:endParaRPr lang="it-IT" sz="1200" b="1" cap="all" spc="45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6" name="btfpColumnHeaderBox217038">
            <a:extLst>
              <a:ext uri="{FF2B5EF4-FFF2-40B4-BE49-F238E27FC236}">
                <a16:creationId xmlns:a16="http://schemas.microsoft.com/office/drawing/2014/main" id="{A2079529-ACC6-4CD7-B0E6-29603F498268}"/>
              </a:ext>
            </a:extLst>
          </p:cNvPr>
          <p:cNvGrpSpPr/>
          <p:nvPr>
            <p:custDataLst>
              <p:tags r:id="rId21"/>
            </p:custDataLst>
          </p:nvPr>
        </p:nvGrpSpPr>
        <p:grpSpPr>
          <a:xfrm>
            <a:off x="338301" y="1264129"/>
            <a:ext cx="11515028" cy="321784"/>
            <a:chOff x="330200" y="1258258"/>
            <a:chExt cx="1873885" cy="321784"/>
          </a:xfrm>
        </p:grpSpPr>
        <p:sp>
          <p:nvSpPr>
            <p:cNvPr id="60" name="btfpColumnHeaderBoxText217038">
              <a:extLst>
                <a:ext uri="{FF2B5EF4-FFF2-40B4-BE49-F238E27FC236}">
                  <a16:creationId xmlns:a16="http://schemas.microsoft.com/office/drawing/2014/main" id="{48BECA47-05C4-47CC-B115-175B306412AB}"/>
                </a:ext>
              </a:extLst>
            </p:cNvPr>
            <p:cNvSpPr txBox="1"/>
            <p:nvPr/>
          </p:nvSpPr>
          <p:spPr bwMode="gray">
            <a:xfrm>
              <a:off x="330200" y="1258258"/>
              <a:ext cx="1873885" cy="318997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it-IT" b="1" dirty="0">
                  <a:solidFill>
                    <a:srgbClr val="000000"/>
                  </a:solidFill>
                </a:rPr>
                <a:t>La partnership si strutturerà tramite l’accreditamento come polo didattico e la creazione di una agevolazione</a:t>
              </a:r>
            </a:p>
          </p:txBody>
        </p:sp>
        <p:cxnSp>
          <p:nvCxnSpPr>
            <p:cNvPr id="61" name="btfpColumnHeaderBoxLine217038">
              <a:extLst>
                <a:ext uri="{FF2B5EF4-FFF2-40B4-BE49-F238E27FC236}">
                  <a16:creationId xmlns:a16="http://schemas.microsoft.com/office/drawing/2014/main" id="{EFCD60DB-5A46-415C-9BF9-0A7F4E715658}"/>
                </a:ext>
              </a:extLst>
            </p:cNvPr>
            <p:cNvCxnSpPr/>
            <p:nvPr/>
          </p:nvCxnSpPr>
          <p:spPr bwMode="gray">
            <a:xfrm>
              <a:off x="330200" y="1580042"/>
              <a:ext cx="1873885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9" name="Title 1">
            <a:extLst>
              <a:ext uri="{FF2B5EF4-FFF2-40B4-BE49-F238E27FC236}">
                <a16:creationId xmlns:a16="http://schemas.microsoft.com/office/drawing/2014/main" id="{F2D9D9F6-7984-4BDD-A319-82D1676C018B}"/>
              </a:ext>
            </a:extLst>
          </p:cNvPr>
          <p:cNvSpPr txBox="1">
            <a:spLocks/>
          </p:cNvSpPr>
          <p:nvPr/>
        </p:nvSpPr>
        <p:spPr>
          <a:xfrm>
            <a:off x="334964" y="2"/>
            <a:ext cx="11522075" cy="876687"/>
          </a:xfrm>
          <a:prstGeom prst="rect">
            <a:avLst/>
          </a:prstGeom>
        </p:spPr>
        <p:txBody>
          <a:bodyPr vert="horz" lIns="36000" tIns="36000" rIns="36000" bIns="36000" rtlCol="0" anchor="b">
            <a:noAutofit/>
          </a:bodyPr>
          <a:lstStyle>
            <a:lvl1pPr algn="l" defTabSz="711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</a:lstStyle>
          <a:p>
            <a:pPr marL="0" indent="0"/>
            <a:r>
              <a:rPr lang="it-IT" sz="2133" dirty="0"/>
              <a:t>È in atto la creazione di una partnership tra Multiversity ed AGIDAE per lo sviluppo del capitale umano del Paes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692604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MEKKOFORMATS" val="&lt;MekkoFormats&gt;&lt;NumberFormat DecimalSeparator=&quot;,&quot; ThousandSeparator=&quot;.&quot; NegativeNumberFormat=&quot;1&quot; /&gt;&lt;Font&gt;&lt;Output_Font_Name Default=&quot;Arial&quot; UsePPTTheme=&quot;True&quot; /&gt;&lt;/Font&gt;&lt;DateFormat CultureID=&quot;1040&quot; FormatString=&quot;dd/MM/yyyy&quot; /&gt;&lt;/MekkoFormats&gt;"/>
  <p:tag name="OFFICE" val="Milan"/>
  <p:tag name="BAINFLOWCONTROLSECTIONVIEW" val="True"/>
  <p:tag name="MEKKOMRUCOLORS" val="&lt;?xml version=&quot;1.0&quot; encoding=&quot;utf-8&quot;?&gt;&#10;&lt;MRU&gt;&#10;  &lt;CustomColorsMRU&gt;&#10;    &lt;Color aRGB=&quot;FFF0F0F0&quot; Intensity=&quot;1&quot; /&gt;&#10;    &lt;Color aRGB=&quot;FFE4E4E4&quot; Intensity=&quot;1&quot; /&gt;&#10;    &lt;Color aRGB=&quot;FF620013&quot; Intensity=&quot;3&quot; /&gt;&#10;    &lt;Color aRGB=&quot;FFD0C307&quot; Intensity=&quot;1&quot; /&gt;&#10;    &lt;Color aRGB=&quot;FFF6E6D6&quot; Intensity=&quot;1&quot; /&gt;&#10;    &lt;Color aRGB=&quot;FF1D97D4&quot; Intensity=&quot;3&quot; /&gt;&#10;    &lt;Color aRGB=&quot;FFA93338&quot; Intensity=&quot;3&quot; /&gt;&#10;    &lt;Color aRGB=&quot;FF7F2345&quot; Intensity=&quot;3&quot; /&gt;&#10;  &lt;/CustomColorsMRU&gt;&#10;  &lt;ColorsPatternsMRU&gt;&#10;    &lt;Button ID=&quot;menuSeriesColor&quot; Color=&quot;6&quot; /&gt;&#10;    &lt;Button ID=&quot;menuSegmentColor&quot; Color=&quot;7&quot; /&gt;&#10;    &lt;Button ID=&quot;menuFontColor&quot; Color=&quot;14&quot; /&gt;&#10;    &lt;Button ID=&quot;menuSelectedLineSeriesColor&quot; Color=&quot;28&quot; /&gt;&#10;    &lt;Button ID=&quot;menuSegmentPattern&quot; Pattern=&quot;1&quot; /&gt;&#10;    &lt;Button ID=&quot;menuSeriesPattern&quot; Pattern=&quot;12&quot; /&gt;&#10;  &lt;/ColorsPatternsMRU&gt;&#10;&lt;/MRU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7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7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7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7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76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7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7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6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68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6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6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6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6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58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59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4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4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4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343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4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4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46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47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33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3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3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36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37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3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336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3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35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35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33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3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34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33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35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35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33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34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TAGS" val="1"/>
  <p:tag name="MEKKOXML1" val="4HooU0THZk28POP9trq+pbTvvzd/gcV8t56cq85kb3NDTsUhojRA0EsgEHHMH7oYP1SYpn09ysXVivguJdhTvfyVMsBLTGvcX7WPTor/CmWiWcfk2RmY+GE6Q6T90sFUaYhHdubK/b9WYMbiqTQFZNRdTaHJ1Coz+gznC5J29/l+uni9WCTqRMIgVGBy5FSCqTCP+Vdrf4pg20L7fH6DBGAMMAjE576QmNnLuvBsiT+uXs4+q81fqlYZ7Do1O1K/qLZLIQOsf0MlETlAF3Cvo9BqihyT3gV2BentSLhd812sJtjjz82kzCS38LHe8UP7G0ZvXs4CKCWBVPDJ/cTMAGfSC0cexqOYeoxCPI4OWQ2Ttg2tEw7cR/U7ClEmP3U2jaC2Q3N0y0cqajrKbRRB43wuBbPvogxxIdP954VHc/Dz5RG8CGrJg8ZTQMfNSoqEJvPiv39nLY6dsdDAJWjIigD2h3wq9eUADtpL/grfQdaviby6w6eR2A9wfNSgk8bFzilJvAakv0v+7h2cH8tuVH12SdwIaB6ZH+ops5HYXceeo7egjEbjxzqR52VENIZPZ7K9W53ruzvvzN3V5ql5tOGibThhwgkRfOV28ObiGAc2HTMEv9D1o/5ywv6Uica1NeZn2pG7woqxywR4nQKf4gbDzMxNXi3UqEtnpLzg5101FtUytXBxE7+esEw+zrQAgan7nvby+UKxaflER1Q2ykNBSGuzMy0NKJ8vFuHRkCwyJzqANNbcbH6hg/Y/nBipHCUYtpvKIgqJB5R2zXJdKOVgyyxQ5HJYeuO/gw28o6xClwNcDjjGmvKZ9CMZQONXc3+yDgt52ICPI9eoQ7ufdwqPFjfZ3QqZIHKXNJxLyP24nXzbxCgQ7cJs6u7s6HJS60zlc9BVh/+v9PZQvGVE0lPpMbpdqCrWzOO8c6aMptO6mcwZ+rAAiN1kk1l20w9wd+US06q2vwwUCX9FrWq87d+xJ/LT9TFENR4G2VTFUEms8e+RLOeP2CNOtpAT6UwFjKWCRf2qR8TN3GjPNCKyrxq/6ZFG+ilcvTfVc35/FJ6tJ1x7rPyr067JIij7D74VEtwSxVc9cDH6VI/5f3O6tYjrN8ayl74jLQsDAw0U20CVrEuRg5zuus+zT3mi/Unt7LW5/0JSaHOpU3O3YDothkJQSQfDOyVnudLTRlZh0Qu0DRucjLsEU1bXKw7tbHjfQ9wwLPcV32lozrZxiRJPvb9wwYzdtztY3/rI1VN9uB3KZcjraa1bxZf3Itpyx3tlWGFHXccv8RT/4q6/EEjOtciOcE0hErmqv8kVrtfinQe9DL3sY4olBNLR60S8b6eKvh0g4/7EidsVdlyZ+/eVRp1wRXegKnYDklxdRcLHAV+G4IpHPPNrOAxGXtqLFYu8rv9mmlv5w7Lx7ChBmi7BLQKq1W29REYh9kyJyJ+jo2W9J1HQJ85iFBNTweIvcl6YbfOfAbssV5s6/GrIz2hVJ6XdnbQ2VY8AHuaFSyz55fhix2Lu4Ce/CqW0rWgz1t99pqyOaLgH8rQsaDg5pIjeEmttUwdQQA+qS6OKj3ewl2phXohlIloDcV5ES/ICt1x/e4lnnxBTveeBtbM+7+gxKL5M+QcJ1vHbbZnnWcgOYvDtWGiTnszvU7bXevBTf5e8n4NdNwKAYJBZLcM95xADDmH5hunMyt0bFbt/DZfAIXYaXdE0Xop/U45c++eHNJQ9kC1sS2Et5qAP8XhqPBb7iJfudtrZ/DbdILy+tRfbwTldqUGl/8oETb1lJ+dLgUJz58UV5V+sBzaI5gkJegkublnCUkVd+x2iR2h0It2tLGEk2alcGD3Espb/x7MYPjzeDCtIiES2p60hw4/AE82CBShZ9uwToIjla4rGogaFm2DFRHIh0XfZMaJ1msYsKd1Y3FmafSwEjuhIJ87jA60/qnTs7BSSgfIxLcYJBs+RAFmtBYhR0rzHj8QLjEi7WE5hbo3wJfbIKBOXcWP5kqg+hdCDSliCymI4+vPKn8pHvZFGI/TA2gzs/xCbREEVqJseGl8Kp2oqKdRpQhLU0r3XiGLAl5sCGs712eDMjnk73HtHNXDeNbrsm4BY4JS5lVHfQthYJ/41WhZiG3VAI91IRzOXXC8xK/BMDqMEEiXqFIr93Cwb3pmnu0eBZAO4tFOelAzqPRZXsakv1e8B9eoSq20vyNtJscdssMrxgjuSnxC4lHyoNP/jds4Qev2HfhYrl4bGvo7AUS5QpuMKcfD/f7wIu0C6ZACmWOm4B5mCcSRRrtwTNnUScvOPiORtKvyns4/FCI6HZ/g0mii9RkwKlI5/Oox5nVew5FFs2PUIrkx6IEC30mbRJmvcwa3ZBCkFoHyzmu8XCY0hzeUHEg/pY9mctS+gIER6Dp+aSvdf63utDLkRbK68pHelus1aPSOjF4Xr/vonOoDohtKBMBijuAoyz0GURo+j8HVW0ZTsSo7iU2EYHZFonFilk0p9eGD1Uk8MMJt+AjTtjYmuCEOV8ALJH5buGzh6mJ3aapz9s5t3+wjBEkVnT4eYY1cL37kzsbly4+NAG/B8KRLSvD5RfJdlzNHpIDQ1eAYJof++ywE5NkVA1cIhBbKPNhZQ/IIvI44LXHFWLRzXkpMi+cj6U2dz7DruItZ4TrWEmWXhAskYR7jSLXPwsF+84pPmyekw0o3TJfpAka4t8VxsnaeF47wR6DWfcELwwAdcDjs6t4LFMXrufKsjpaNCo/g+sveiWBbavxyhCiYPX8yNH1KTbTi8c5sFgdNmvQ2DAJosO2Pj2fd/uULOu8VkSwaBBr69GvcYQHavZwHIqB5nh1TkEN6GDLKZIdg4mPfIR7c17XBuxtH0FdMULZp/KMcsupL1VIoNRvd1oLdhDrj1KGI3Q+GtPN1nmJaKG6v20GgBuP3JhF2Suc5xyIKMbavgXJMASUaKOC9vJ8GyPc2iOvnUCoH+uy5SEm88k7sdO4+rBZe3fd9Ftdr9equDMxxGZ4RSI7rbR6On9jtuaeCPW9/0RFRDsDM5HKK6aLanBy462zGUzuG7ycxxn7upqwjJ6SutZSFhoWU6gfq/USBh7j4ySaLrifN56kcsdzCE+3ksXS7jIs0NSS+hoGrusWPc5NU+OyJ5n6Uxf9f92lPoiHDVK/V7aYwjOaBWTHY3bMCrR+UR6W+fdXgZ81YsBKZ6iqbNfmpHbQXnml3L8KYVKJhTS7temYBLhVtD6y0//B5kl9epnn8JdYncmKHZI2LC/mYy5UI8w/fJFWC3Dl5Pm7vpaBRUje1dj1mZraPjBermOQZTZqIVMW2xjBp/BMQBP4Ld0Ngm840ARS+HD/K3uopcgMzUIPrc2VHLNrlC6tsi8nWn53KnJoveOdVQu8dmMp4btipNWVqtUrlrfBCWuZaqJjYmGyXV4eIf+ckHf+nKIqgtUBIx+USnCBOZVisyeyEvbDiEE703VWKmornl4YkZd/NUui0UA8fnofszORBc2XvFwFp3b99wf2LZWD0s/Hcq0iQ4m7oH/GGybxNXhCX6osequ4FRptCTWJPJyaqcPuoc6bKmKMTR0epGwz+qR9kj4aiHZqMtjy4hgcywPOtzAIQkGuNc3JlXJwY520j1Uf5Ur/AP1ontmjyviQY9/iDvW/HeicsRwAGZWX5olmT2TOm8M9RS6MeJlA5lY0IMRmh3xMmaPvieW32K/BjPxg3eKr9seeBtzKfnsOck4Ki99+nFDuMegFwt0f8Dw4YVXsOegDVVzRs2bCLP4V8qFKqosLnz98W0zxmkAIvXyr0KYJqxbaLcE8D8KpY39ULEZmm1TmjM9f8TpAjQ4mv6ojwzbbvywHZzNRLrht3eM+vxDakq1GeWIaWqykYiUwIgd7RYAykukzETAZ7mov5/eBZ8rvBmh5DdN1P5Zy3SMOBIhziWez7rgOIBGh+V+ZvdleDwytwn3O1Z6NQ1uT/w1UuqbjwHoFMxadSIqTgk24YSNTG2lfW5ibj6KQgggO84EddwEFy36OSjgliCRjejT/6D/MkkXimXBdPR40Jv4XUMY/hKyjPrM/DACnl6rPe4tgBz+hD56yKA9vTtmdigdipiIIkSE7hhaaTOimIzHe3NbytavDDeUA+p3HpPkwUo1XB2LG5BJoM7F1SFduq4VVQ2DuGAJtF8295/oGLYZlLdBjVMYRMNae/cCFrxUNJm0j3v2mWxxj8L2F5SdkPEr5jgesDQaaDO0mO27PVj+mv/D6qSS6+wE6yR4QEr2M7qGHmDCjq8xYsjubRdcFGyFy/4c3Pe+FcUZQpXxvA88yoM1ypyMlKNW98KPtFl/vDo6JHLTnj9BIW74EY2guAIxIClVLyLY5GjWHY7SM0lAKR+aegflzVCrlcGHGCkzM50Rj6FcfZVsHl1QIGFpiMlG3qOgdhMFNJYXC/Wo5PpzNWdd/Jgarz74oZuL8cwCStSJnoqWMhr73/17zn+mvj22nYXLxVRE5WMO7wm7KFnKdevk+ky9eMZwtGcQkZw7vy5JUAu4SOLLy5sNPMFwUxBoBjzBsTCXRsz5hbWDAq2nusrgwlrcjHZxRvkE4aN736SFUvKkBUizJmkf7oP2ejrgEMo/Llmnm4dzswB7gkoXOAOIjWDPh46xq64CJRCMSn96PHbQ/vlz8M/tS9lq/9BMWGA0VXNUU1ocLnGpCz/45IZkU0kNp4dz1Z5VPO8dCvqpA4BrrS62vkdD1peqL+HJoHF/h3hkJHkg/xMgNlB9G907niudKlr8SFcNsbpagObpH+Zlv2jqq7NW2CPkAtn9hKBPjYKfKlYNB0+GItp6wOIRW2d6zgwtkspHtCsMn/AiYcGRQfJc2WfNYGr+zJ9LXucmdiG6iYcVONhK2MSkHd08r2U4EiaY0nPJBKBqNFB4tb5kkBVBTU6L6YiII2VJ+oRz/7NJKuAArBYLuB6XmJ+0QzOMtq/f7gqmq+2+pYUOKgbg68Acjz7u0D/sGpUk2fKm7zDfXYUcMI2meMXuwq6yjlGEx56cCZ6+snmLsJ7hMMdQ17BBKKl0S/gumVfge6HJln96Ocwz59yVjuKwXBxABsBUv3fzJ+3yvbPyXg/Q1ZA45WInerz5FRSYqiy8Bsog8WeJ/r/xiDq0nDIy/Pz2yPDUMW6GoE64xc6wBxk0197Imljnl1jefA0ss8rJiy+RFSv0mTha+rg5SFLM+8YSqV431Vl4jOGIc9vo8FYQVdC0VHp7aHp4UeL6j34Stm+jFBHzP7IQdPAZjCnvOdiFeczZBR6t07V3I8OmMLoTybz0897UBilep2AneTS2e+d1PeL5t4RDNHFpvpHRSQCKMn/ce3wOPgktJhny9Vqt9UJjbVfIX8Uq4RI8nbQULQFKSFmHTbMuzeGXbJ69Ce7RF94L4KVndR/1pcNz7X/VbYaNCJij0oQVlqQolHWKzW32nW1EPHWNpGS2yHiC2Kf/go5HsvkVNABQDdY1On7lMuKBMREfz/4B6T1YhK7+Ktw/T/1hN2OVkP6i4e8VDCDrLotjkCAtHM4bcj/E+SfiaX6hYN9A9armDw3CXaY4NRU/6fPPIh4Er0AiMlTWc3PnH5kyRVAsYukOC4CfiPDOTgkW+qxsCEzBe44xlEcmdjOl6B7e1FhSO5xqP4QxFPyfltu2ROVLY6OuDOEPmdiJzGkE1PR3Zf+ZvAC6TSqAddgDGiBxDCafRb61x6MCY/SKSC2BvXxK3aLlSL6U/0nlMhkMrY2V3Ea90oiTtJwFGlYYOvD8KJsrkIxj8UDqkYnxn0ktC+xPBOO09rdeU2Cwb2+4Tls0MisUSf73YrHOeMLKZMD+YLs0SxRXjQG4Y0XrTZrMwX8sI58LHlIsxWZjxpf4itCEvctYv5QkfndTGKt+2r/ulLs2qfYqg7Vos0NqPrTkBEYqcyta7l7vdWepPcnXxl+pqRDPuH32AL6ecPuyj8Ug1XvcxuI8mP6Ad9MixjPyiWr3BT8cG/gyqxVmlL+r1EeX+7ky0dYIrfjc+r0QkTHKGCQVqm9M5hQ6QmG9VW4pQrHo+PLxjWwmz82Bti4UYMEpgRLchFEoMXfkBGZs4JlNUP68d3QGyjAsN6QUIvdvNR4+UEizeC0Y4V2K/gGSw5cLCESfjy/VvjrJ3RM6w+WRtUQa9xdgxCjBgFNw1WwtPTwrSnH3Up9+Ndms7l+g7RRJTi3xJJHWLR3w+xfqBUzO9TNYo6J+nX1Zy1wkDuPTuqv11O6gPAs07wwX1J61rsOSdN4QTOv8GZVMUrABWtd/Vlky02e3sZ6vLmDNv7qoxyJMc+Uk12r6l1UAyEJbO+IlCBhTCFrXmA4x5dMcYkVkp/VDN6+/yabifgBKEPXBW8s2dvZlDgCxvwDHh/eX8/mOsZbh0j2NVOjYjY0kZmXHLVbn1Ko2ljiaoVn+mmiBWXqh/CDyZjkfh+ZZNus2bsyCDWDB4YeuYgHsFhOt5u16npPK1QPCUf2PrIb/vghQ6FEFhLqLf4gJ0L2FGG0WiKp12aUjSLrzAzipW35K1LbNhPRX/ofaB8h7zbXjrd5rtdhNjHNdcGcExAIsLFLJSgPPJolOz1Q2n1Ktn/wpcg+dyo4cW/9LIazmaKiQRCh0rda9+3hAZFRMC+o6AtEaptc/1HGVwUWH8X7V5e9NEnfHPknI0zYV495EcBwGZTIPbSo/nPP8hbZje98cCjzDm7OJzckjDx0tDZBZz6DQCFcRPTbT2NG0Yp9/uWHge6hLOW1+X4gvtvt5ZNUgSvOGpKD7noQu9hibwNaifO1UaK8uLkEwopZjlUQFnR/nIYSZEZ57aWfE1JOmp9fNhYRqGpAdeIpgW1MgME93OEUhj3A1u+XKGFkercvfT5qYngIEJrOLrZ0PqifJPxEZmQUZuTbKnGL3GJQhUmviBLdZOcV1CPnYxPO++JL2bHGucc/28vNzWFIANimSMDy7mBZSW3cc2tVY074/4af1WXerSMRaEKLTDznZ+WOwnTXM1Nv2RaOP9fX5dn9VoVNkQ5n+LiOlA07QzAzRuHau/tHJK1gdhJDF/JguRMJ8fVrKYQ2lHlRzvaUj0Fy+x+ZkH7Hr7tWKuK6iHyNGI8a4h94Oh7v730uXsXnh+8BW7/0LdK0FgJ2PQXTaOhuDfnEEC33PGwg6Vac6qe9Fd0nw2WQfApsRQ3XWBkIFoXC53Lo0fO/3wAG2en4honbHN7hmbPGKMQei+ST3GAwkj/4P3gf18HtLY9jB7szxC2eY+JnImO1iJaVWUPJ3UIN2S8a13RI76imttD8k8tEl88a0VApjKafwwoLX4YFAAcznEeMdLAju7QVWOpk36lyJjihTrk3LYgqeDQmV4P8OJAWYy8dxyADFBZ5djdDB93CGweP1W+/sYNjOiDDDcrN1GPOPLmZ5jCMEPlV/VUDieZ8kk/WkYYbr5SZmcpSUiS3FKz4NlAEO9wpmjRzUK0eFG351bVH8Tz3/KmlNco6CMAv0PmO0YcKeT1Hd+NE9GNgMtdM6MuHjqFyy46zbhVPgDHIBrOKbA8O7w/KMfdESjUFTEiMpXAkt/J8UMIM4rmKVNmn5/GabFtxeUlwy8BY9fs5CtZzCWrdFaWQgmhAXKRuDugW7euMVMmNw+lf69wp21eIRY2UMcG8yK98kfXDsHvEycpNUnHR9r2sKHVz89MyhONzfhRA30DNZzkbRJ5jjFKw90TqSKOhF1OueWE/y28B+9vNJaetTqJW+I9PEY2V29K5a9napiVFXfAL8PWzpYgfE7EizzH8+qXX9YDT5o/3PnGQG3sSmNhOzXPPasHdbsOuBxioZrsByKquA6GOuTUve7uH4oRmoqyf7HhjX8WcfHcpAIpKg+Lc7EI6qVklAF+cfeFvEQeqV/XRRuQ782leUTzYgKvk9f5NPwlSydfW0PezOAusjylub8GH6hAHA3FKmgb9UlxDcb5syq6UYjdvay7pCSWUQ+lgGl32yONq4/Dzz+PnInXokWjpclBa7lDS6czqFHl5wUMAet4AAemFKleElam0tzrpkQRizvNcrJWLZaBw1vRee+QXwB7brtN6pw+qFWRI4lNb7Gq+6FquVKwfH41ReQ3mLQba32ysH6xMweci4XTYKpjc7GjbLBfzgnLcPlVepVmXd70GixkjJdHzhX6uAy+S1lr4pZsPWkCkfO64QSgABrHhM+LKNOMshsmW8E0FLzH/wcO7Lx0s8o3e2QWPYQqtS1w7KQ5I9X7I5b8yXPwOCvZ1+AivVMUPt5E16baSJnG/tXxjNd8ygNd5hOX+y0ndtdZcNEu3Ua53M6SFHywsfrlLuNLqikT14DpXoE9tniy5A7DnFVSl9+2m0ppaAXDHBlY51qAcSPJma1JITUjzh67Le+ZGdVkH9zLw1wt3y4L9HEO4YkdeMF5FFMB6v+Zsa+95D1mnGqSZn0FLNiInxwNFbpNods/Z+klfwM3CTCvr6niQN3FOJMqiOl+CE3iqV4QQP8CHHSoV6EYVB6Rc7Opn/dSChlZbIXiRAn76VQ5KiP0zUSe5GO9Sl4Lx0HXzWV7DiGVEjFaid5pJwJmI0bMv2NepgSPGrad+fvjFYs0UUB1MLyyGwmlFqcc/b4vz0jUqQExBLR2Fmtpqd+urswlsFwfU2qbN8hei06P4J/y/2DJC5gF0gz65qvoIEftGdlcLbd/tO2QiE5/puGFYqr0Qv7rvjifltdU/CR2ZepyHey4YkR8yQcMierc/Yt8v9HtQgzsUOU5FEuDaBGTECo4XV61DsP3zVFHJYgVoOGwX/nNZ7G4wrAP6rUsOWQjuqKQFOKkQkJa5X8esiIAJcunuoSeurVfsH0EKUvixZHktaHR+DLVlqoAEmQYJhdvK50B7zamUx+vu638tXxqFV/m64QgiriR7GGbUbYc7KTaspcQzYeRjapT6vNvmS6lfJxnXlsgGAy8QwCITqwQZXrcoVxmO38T0pT3jTIHF0m3JvCbhFs5juicwo1zepjX48aAKOF/RF/jkhDInQqJhiZpWGuU0CXY5B/8MCFFqTEAdUyn3RnyFf7eGVfVYgXvGIfIDMaXktMeOCLLf6D2Mun6mpE80gsPNM7ueFRfbmtoUbRSo6/h5XonVqiNYGthhfF0TmGyB9ua9cvCYK7Mc50+foTVMbdTpFbVIPlEk7KaCscixzlkZotIIgE02SxkDuYsdGoJvp3FGw4kGofZ/jH/eKaNZchOM/LfmnZmrKX5VjoUn2IsNs1BGGPP6qAp4sSpJ3Zd3/q6a0Fe1jVl0xedq7KizIwgB4R326kldfRYB0t0Ywd2CLQHbeYmFLZeVZaaz9cFYZW3yPeAp60ctb4zLTXkEILDTTWkxg0a8uUMh9dJdBMCGxoUOUXmrfKRVr2Hd12vU7bM7YSLoeglLYtWz89/yIkCoK1sUPfqotya5CpS/tztDBLUyBqIH3RtyTIaW1CgMLFJiYpYsyDvbABSoDucqdkIAYhn7usKJi9h87bwognEprFaECqN0OlY1fczA7FCcKGQZTpIkdTme5cIBHPbLUVBbnOIlW7DAAwEzU/AN58NwHbKP2c1MjiRi1aPTrUoyoI1v7RVm7FtTUevDNz6YTDtAbVbRyZNllcU/3oWkMNRayjHAo3JZepxxOSqvYmUIFEDsnnI2P68WpWOg5NeOFlsrYVtIxNzQSrWEDxCJ0dNPEf+Mh4XHA8rTRa/VqjtyKrWHXSmGh0TLZVbO5Bdta2Sa+VWQcoZdKSjDUhr+06/YV7yEx3M3gQxkCCkd5FmfjhylYrHTtrbb9xs4p5JRqbFeCLDwvD6IhLwTFbNfc/rS6kBSlJuQfEyesNGjDfZnkvI7Lz3y2xOrDL9JxVUcD+9V5dS9hQKkiwQwmJiwpg4w47R4GxwR6tfha+tUESZIisLhURguLrcVeA23bqtSSLM4UeOakO4fqhifr7w2t8Vd6LrVQjuaczWPFXJWUSMxMLx4ysfy+IsmY5xN4AFrqX2sp8vH1FsEV2W6uEnlAXksSrgh7TqPLe/4brJ7UaBEeDGBY0eyfT7bgSkV168ay9eqoiiCIA+VvPG6NQ7lo4Sy0J7edKB4AZHFYnJT7gaIY6WfUOIXlEmTms2qv4P7G/5vecys4zqJugw87pMpRu3nJpdr1I/IVwzYjOLgpUjmq3UPf3KNMqxZ5r97PZqGJK3MjiWrU8dQFGLMdLO6u/3QKOTGeGF8F5cjzbS4c5iDH7+o78mb4X84kt3yx47eHWoIjoIBqseZdD8kCjX1DOeJobL8l2sJEPwGMDH7Z3POfpo+7klJoyoUUQhmDQq6zxfTRMY+emXz0/HOykexyQDB3VHCOmFhKUG1r8JGgRemn20GsWb7kpFmG+rNCMy3GgMWQXwe0JpzkIB1LBScuWZu0GBzRj42PPJo2273eBRTAIcql8RoEnBOSQsBaJv0Zc1ptU++g2YGF+GJaV4xA8Ga3z6YaF8G1HuWh+MGsa85SgBhEYJJHP9WSPWfArWTobbct/OxEYep+8VMSHYc8z5G+fuzKKzlx5HXFb2RWLsd8BHZ8dsPmckWScCrLbxeVd+FiTCPdiumEZVWpekP71bJFqwvQmuYXS+w4EHJZ+gIzpaODWXFk5pkgybBqF3Rl0LpyYih9ku8JmxvH6z5Pv0ldPIyYnzCEV1p9X8Iv3KIBI0x9kpq7GUAfV7ihv5uVObStoW0uTeyfrDhSk7biKebKsohBr7aBp1bytZvIJ7oC/Klm2Fn+CXh/BDtFDYfXdp7cTKBHZGsMWIgH3lRb93VsDVTXpp2yPLt0iRBsRoo/Ttm99+zSOA2ZcVS2nAvmmlnx/cCBeP5GS7ZHV37eFEsP3juXGVnB0sdnDgH+6d8uxXImK7mSNX4xx44CyApXnD+2npnlT0Rw5umRsPCIg5pqdaojOhrChgdAGBr/UnGH5tGQo6KK/R7G7rMzaUbhpTWMbEyLSU3Co0583hCrEBX3coP7JK7DMrTLN9kL1euMKyVRO4QqBGDqCu3WhCTxgr3IlwrjWkm62hHpp+YVR6gWDSbdSBobN2S1NoAODZf395bpepNh2BRq9XKLLihCbu4eoEGsDC85ZdcDvHmumGokI1tlqcRV4HMGRukISbhXcfzB2KzFrBrvTtCBEuEbd3+8Gk5P00s3QSvMJQRuBpcKu/Xbb6gy7EFeJi0hYlZgMYoV2zkiJgo22HfsgULwqlIcsXP9dQrnumFEKNWhTRZt1ZiqIsukNVNd9LpM+L/evTbZLSABorBQPV7/f8vWIWV05u0nggmej6c58qVyeJjJIr3QMPOv1gcyV4IT0IVQH6BlLikXgnN2QgjFb7ntU2Bgg4zDmtcbBoP8ToeUz+O4Pl60h4ZUlkbDC0g041eQzQtJxNt9vdW4HbVU3EBfn5jMnq8mQw2+mpw3kDXrT7el6ic5dmuRNj1kjLU+P4vMyFRmisCv048dgeakqQ2C/fyOAuFNUPfAuCgxtmy8g8CG3XRPtX9bUbcgBdL3eYokpTOIeUiT8S58Iq9mJFNp3acL4pvmDV6uhwrPDjmoco+WGtRvQHYmFAg08pwcZmfw7tkgAYBYNw1G4eJ/tb3rXfWwMeDsSFZ0j56C+U5LkcISdpHNvGkE+WZQmjU97Qe4sHxE5EBXHuIu7vNZyi7hRiH/gyDmODU38LcpUXG3oLGD7x7gETjFWJI94Z5cxBqdhZKavKQrj+HMFJg4DU3vv0kuoqn/cGEinldA2KrLtK1bQJKHh/t8vqDRfc+ANhn89fEO6AiyAYGFcNMlgMetWbQfpgtNBl1JYq3fmBJNjJ8LEwhhJ8BYYFH/YmdziIBFQwqoVl6QQqT4q2F4/PC27LBRBxVsyHSHKjPQ0hDlg8MdVZmkMXuJGp9l14q8YODl33F7+el892WF7fO+kTnOI3RV586hXhrNq/tYzwH/dJQpJlL2iPErzDJUh5SeInljAkWHvH7+TMSGQwb3K+67HQ7SrgOe3vXzjvAZ0Mok5NijwmcNrgRDeWu6IwPVT9ePZ8mJFWsKZIrdHGf98S63zZimH2pbi/1BYzc1JsLpu2zp+OS65+Y9nwYPinYl/iV037/Y6HQxImW9xxZ69WwvsTAO81ZQ+PXDlcR/5MYFbFxEce/MuCCaLDK+8u8TflEcBakQ2GiBbfW337eQcdIJbuAHXgta4Bp7h/aEDx74Wobu6rJ1MzgNmNK6Jn7wRDXJN65TgZyklef6gHYS3K9okXuLNESq3bTjGhly1wk2gd/Mj7TL2l7M9NW3aZ2okrvRODEGuKWIOWnVYCPHvyONCtgZ794P9X5vzfeWum7l4onAnSifUm703KjPUZy7nNKuAeNbMRac2Pk+nG/HuZn6qfTJ3Wf1KBlCGe6+a7heF/wHDvmos/n/zZQ3TAJlMzniZyhPfPg7WSWrxBJ+Drp2yiKuZc4JigoUxn0Da3B67UoEoy2k3ROskDZ9cWlxJidAarj0gQNvcIPobzjneKBUJqszcNMKOGFB3VewC6Veh+UUx6buVJ355z3GaXPd4+tNOHGShsTSUVi6ohgig2fgleiyetgk78QoO7T0A9Tmfl5pqTOqqwwK+R6JNcvfRWawlZkgRg8BNcliipgyxHgCYFajnWIleMzKLtMchssfv6BU7DbJg5cMOPPT5ADz3vgqNDWqLpzNPPk6gJr3TR0G6Tm5gPnGDHLqnmf1lbt9WcVYV/Jq3aB6ji9h0hF9eusb6jKWJ5vUB/tSp6+g40WP7MeRTPaXtlfHlNA5Rwss64DbJqBxJbRrjpfSAchOElg7igxyNXcyWj6RHBV+e96yWs3xGZPnfbu+0g37GjE7SefxhqIlqj0VRLzlpoqDEGnHc3vODw1rx30QN665cPG8WblbMR30lKDRnDe2Ju6705g3zKJ4AwmMJtmwDmBuOPkdmSWJNt/lG8omiw+5bqJYIe9JMW9eL0mZ88Hn7igdYYrsKBcRLIXYIsHZzNshzMbzJ9mIH+ddZfYMv0FtjLhYN+Mgy1xw7aycqTS0GBSCLG4tZ+2hZzgR+tylxjglV67eqZzvOVPQSlc3Z5622QeFC2EJ6xeyZWRHvbHRR/+mcVKPQEB3qHqbQwKjr6LwJpuOUpAnZUm24jGS7IWSEtD6FfJZ5sYAj8C9Sg3MGTlmx8jw2kPS/+PQvUdnfFxPUWL/x8cuKrBhltS4ftJXmnvFvumymxQjZmksJup2GsMFzxPqOvChR+JjvkURaJW+OQzp+Jg68ecxREzRjguQpvJkvywaxUQ1xT4ez6zi13opmRCWEAhdwIjXdbwnqaePCxFW7NtDA2u6nG+4wCmkdqaEdiZnQ7bHCMujsuAl5jGIpVP2O93jdxfq+sf0XwPp2i9I3Qqcaucodp4guIgxuvdqWDy7Knrc1rgRIwVaqJvm0mgPlJSGu40I916HTRzkFfI/iMBZMfDBmVsL7JnRdkfnyL9eqhYrc0fn8dmsFz4jk5iPluGIwIhNlER+sgATzlRp6EbJvES647TLb7SNHXg4P0a5FBl7zDBqMM9dySKbTKWM27B0aNRFEYcUR/2LR5DEUjGvVyNrKkJDrYgsT32jmuWNTEArcEji5fiBxOcBYHtieVrL19wqmdA6C0Bql/WstTicU6gAv9Q8QtVEK2ddVHNjXxS+ypg3uI329jlYYL9hs9d0GCxJxsRyDHye3SbPeknCWzFlW9rOKL2WBRhHMwp2Agbi5etLhYBktZDpwxKkC4dSBTMxrDE2S5JQ1ZQCTMbpOtrkhl7tESFEzoEG6WG1AjftG4Ie4rqbggNY/yBu7V4+CtzLE/Szsc91jlpLqtBr72NSE51M6DTivdCNoTG5rNUr+hVDQgQKO0Pxg3N/33PlpxQCr6UaO4A4qcIcHNrV9Oef/FbzQOWCa+shyXwvj9wuwJ7DE81emqJKOosed82j3IiSTTN/zOfR32DjgZO/GEGzG5CzJNT6tYI/lzTREhtZWC8LhTv+36ONk18sdaBPxtc7j/6xA2K+gPXk0/n2N809OPhpJYlE3eiRULRHHQvrCKBIaOcU+TMcbCrezIY0uJhgqrIxabxKjm34u2rNAJjJCYHboHfV5hfXamRAiAg3I6NdgdVY7ZE3oQ/KPBsYykHHCzmFF/JppSyZFCyuYWXcDlkufHY3JZf00Ae3oOPkibjq0YfMjCy703EEMfPuOiY+f+ESCj8INoNefSyXrCYkqsvf/ADxH2u/85ShmMZEnf+823IeXgyAi/Sv9b+kEPLiyqxbACE01I09ji1AEwOQpU3mnvedJ1b64ZMGHPQ/YyWF8CpwWuK/VpVULSV/uGIZOuSpYCWq2wXbr1pGYC9iZIV2bNQxUli1cCBphAn6LAgYP+yrsjBF4m7OD4/9ruKHMjJZ7lGIgnc3tgZbRXKBqTalCdTXy7PkDwbPOTWkDXrFnzoebuFQsgceake5xltSlU3r/+531b+vAzodnPmwwJh+eEOkGbwq0IveMPqmvaRLc0yy7GowzXKxMXwq+tPFJj1rvndSf/xTylfDPNkKsVoEsNKJKUVcUdBcaNNjJ84/zdgGDssbzafvZsZ932IIvow8RC/Z2qQlM5nNu5N3kNY2CbDIHllZV44O1PUzTzTXLm0ya+0Unl3/4jgxFM3LCWGQHn8PsHY97BVtlpDp8dedNls9kyz4ZUKAJBFyZOFNRxU0sEstqBQ9s721c1dm3Sxq0DrNiLprI0L2PFyOcaOAHVq9SyyUtMZe25sHc2J9O4YLfsQ9P/NdSwBlno5OzWrJVmww0Q7AUL/tYYrN5eYnjwxmrd4eEV5xIprI6+5KSYAh+cZODRBfsQte78wFobUKORNcIECs3PfgnZGTHj1DHAnkLDCMnL0EJJ6jnBpWyV+6sc1jf+uYlYFZOK9UQQoNsbSR3uhrNqERUDnkHdbgHv8Lyl38CUSr2At+HXrKgTVvtZ69Ihubdh17nA9ktppwDlt+eP13nUj9eSeJ0y54YSha/Tk4XNhi/Ig4FWL+8cvB/5HXvkHth1aYyUOTOsBkzNmiQFLKvH5le4GUlRrwxXK6HZtX1rcPKA5Vt689hFUi9p0h5Ls/704PZYjCqfqE2zOS3O+4WvnKptBOvDQJ+J3oFNEsHld9rPDEbrq32JpS5QbdVjnEAG8OxOrwbu4yxqE6dSMPz/PXcQa1eTNvSZFSVYAJUD4x84GfFdkQyr3t/6TLjX87W/U7pffmzOoU/mgIDhpoMuMELVVoYNTylk9XwvlFQsl6zhi5vjfst1ntwnRzOn3EM53sojd7Ac/nPxbJN+FmiU1N97RojQ9+iz9O5E66kxRlaRuGl2st33H5DI4dM1YmFSgY0CeO3MP1uVPcl0uLWuPd3r603QFbQOj00CkiSwqBL+VhHy7+c3HOqIF3orXbTg/Ipa1d1UxlZTftoAaFR0sFwqnXDsbVxN/YSO+qU9H8ioi34RjhilTaHS+Pore4/bmT9Eet1riU56RI0hgslvbsCzOjKzKreKfw/BaC608M873dgZHi+IErEiTnbrmzusoEN/vsAl2cV/ZHDLpuT6XuzwpxAcw7zNAZGeqf4gcVRFTnLs6SqVLNlM77YMOWI3MBQXFVYPjov+RAywn5ZRUKj9RnTXqzgL/+bEfhdvxTNMxhZ7qso9jj+7q0CwZ8ibv8uWkAlfb4KnluAetRpi/ef0PpGlG0uFHWrEEkbz1OBPkF8Ex+xjVVRtnCcIdDF1d7cVe2cUbAmXoeuEU6SUVIy8UdwY5oehyDUqcFtJWzwWg4i680nQdXMylVkyg+9KvA+pL+B/UWWb51WmJea0gObT5h7Ultk5OpbyGoZLh4A3Bwf2BRrkoi0ZDKQCZKsg+EPeF62iPONyGbn6RCe3tnqXz2Zpx4nQ1mCEHnfmtFROCOgxnoIIl1pdag7MJxyOzctWh2bCIBmr2nP10ywdyRv74PvY/F7yGlFKbCcEwuhhwNcdS0N+f4tcmyYytdW6xomPZLGWQ0yfTxLj5Npkto8kj8l2S2ec3/HAXWWua5QcVOc1rygCmAncni/QvzCExL0wTbN5vDmhY8yZz/PkWYR94C2sK7Eqd3YncRpMc6bZ7PzcIM0HvuZKFaPZ3WoSlxJe1WP2Xhwj++087mygusOEo6MENLFIcPuUtrmpuJ7f+j534jd53tm02IvvO2POGT4g4HstGt/Q4yTPDWp6hHM2VqFhYOdf2cOqx3+Ocu/Y+wKc52pezZMx4portq6AanKmtvxpzQjajMqAu+C7xzc3FGk91Xf00l3pXU99IJX/LoIy3dpluBnmjfpvzyhj7nx0YDaj40Px1+nt4Ka/BHoT53FiPHcU7N9TgtzShqLS1ms4jVqDpp8teh1KDAZUq1sUu/HL/NqCiIqdUpS4KbY8MdZM70a1OzO877A2AAtGNyaQFc1XAC9aP9h6LHOLGwWOgI+37OfgesLkIUSipPIId8qCFYF0oxGfZDsdc9gk1/aB+QHlKVmjMQotZUt1MW6RaR417EvEslbnNslHQw/7aZApWvKplkDbs4Y8dBZBs45iDWz8hbwqVreEXRBWaZcVBaq2+09PNi6TVEYdJhvcLtpueKQ07BbozVlYA/VUTIvHwv17In7JSVgmTj9UkF0ozrKkCDV6mshnuA4vBl7hKg72895U51eCvtbRTpUChGxHfRCiJ4oZ7yRO331V3c/BYyKIv8mjLaZO5c9iIIjeDHhoSSfGCdGVH+sUOeNGJ0pHQrYcVMjXnVk6a0kA/GBv2LSmogzcnprlDGv3tKzzfT+zMDRZMgg3HEpBJ4w24rz9XK0it5dj5A1nLfLoySKMedP8dbhDiMyDo+dGb32TRMqmXY1iNr+UjgHhznCza+1crqOR9TrReuqb+jMarscDvX2AnxlwCjq/ZjU5XxFdTpq2U4FdD8yxfl5VWeZ9qFJzEKq1uHNcTJt2HNhdvXOfoxWCNc5MpPWyc1K2UPQytT42n7MgoCLwp646MZY2IPQ+NBmBo+e4kN9IcuPmFVqyyCt+ooEJCCdYb/BETugRn18L9Fq7u8LPaM9iXMCW+XrQdgzj8ihbSg8EGSGFEDP7gGe0MBm1CI5+nEEASyzv1zjYRHHZGm1jOVCJAE9L/EB3aVVjeKWBuqHooHB0WWpMN1ViU3Hp8Obklc0FboR5rV/YUfwIs89WQN/gXPofxXm4ggz+tMEWhqK55hKgNMT14nEwTpL3AJNPjpPOeRlWPPzuE7hcg3bKr19qigPy6ArRXVlNQa74G10500o6Eq0YVSyNnzlpajnEsWxslsZay69A0aIziQJ7wHzdp3xUp+svfOl/+YfY8C79VGH71J9Qb0YFq+Re2YCGV74gYfy5Isf9iCK6pNSjOIig8tG8p5Yulw82V36PGPYhAZUVLiF4MGYEPF8HXgtZ9KiwEn2P6ZiQCAgCmml6dhHOTFjVu6tZcsWMVON1QdpqIYj7cvho9pKm7mBU+oAhJJ38953OCk1q2TEfOq1QpR4PWZWmv/XrRDMI6ks1kLJhq6iIvIXb4eWYX7PbjQKz4tWqpkA84NqijZWXCDnmEK9qef38170SbaEFXdIGcRKzKDsjZhPY9wCz1mElMXAYdCcMEn5mJXsKv4eMAk/MnxnBQalJuk0WrZZNeedumUSeHQ5zhNx+CM8WmVXcV5qITKuGy0+ao7E3tRPXWzrYJnCxObVY2F6ldFLH4X8z0QdpLRxN3MfPsdXEYOluPGCLfpuY3LAuQCDolNzvj3VLeJL6pvzd1oBsaeqj7PJNj8bvvK4ne/OxTFNMFdzflAd3DAYH1RNYVZX7Rk0kVSZI0RG5/O08HDGSvA4c9Zoi3QvKVnNkU/LTZxAeXuIl0i8jGjbfSzU0VGEhnO9l6iJv3SGuEFnPhEmjVpMgBczjplQq9k8zA9E8Xuk/TY3f6LhH4cwTQMqZUhqKtTc+9uvkt/987fkAmcBBUNvkVVmTw/tvT/0X0P6x0JKPzQC7XIFbvdLgpNQskdcKCSgvqIRc1LaP9czZ/xVT8Aqhzrtz0Iaa2oTZMf82MhLkVK3wygDXxUt4X39BKiiPnVwwpPTODoYJAwQAXi+kknEs10d/W1LRH0/CxgpEX/RZZuwNTQwpj8LON5ULw3Oa6IhXNZUgChB5UP4MSSV/mUNMaTHLOSbcHiBySrh/w73ij2nFDYEUyE6aLjW3f7jbc6NuZQYfanqxwmcXrrq/ao+fCkhDHA6Biu4BqQ5OsR8gG2xLr251yqxBmBaOxApy4KsevzAPMNWmnnaEJyGS8f/+gKaTmFI5d/s3suCJoqFEDmkBiOp+xg8opa56afi8iLwfUzqHWjg/mZstfJJLvEP2QxTG5HkzaOayrgbEaJRbyAW9no63SZdRVa9OrvybQTDiATGV7oXRA12DEoCm8jND2FwMS1/Uc/xrRYo/HXxZysP9jyRR2fQmtZ2OKW+xsvU3+OXcXlQRT/tqO+rjvO9LE2/VBrE7ocSrcNGHhOOA2pVjpZy2VcVB3C1sO1Ez0fT3cAdY6Gh20jGYhZokdLz8jthFLHBuj0JEGSh1mmyv6Ltf9z5aKIoEWIhFjH+DYDYKsqJwUMHzoaSpVJfO0wjbAoVac2h37Vja1KZFMG5O7SXGbTsyKgi0j+eBQySDhhb0V6gSkgMn8BCn6VltXaYC3CAByQhI7bH3rAFn74am/VYy/YvWYgAgPbb0f7T/KCB/O3tUSyJVNr7+rSTdhUqOYL35kdcOlljhpbrWy2ecAbUkAACFMDfy2llmv3x5vJMdT8OpajKliAED6MeltkpgCd4lKyIuPLyBOMCi/aCk4hTKSwMDyqGeHIbp4MPeddKJOmsZTKh/lZQDvgcxvzxvo9nlzg5ZLluecli/z0A057N6HxM20dKvT2YzNCxLjnYECXKtb9y5pkivotLsqO3qYhZIsdnj9p5LKRE7LS3H2uGSt5E1jzcAWT/RUspj7X5gomO9C96ZTE8TjQLKgvStt0txZ3+KTcnEeGl54IK02Q3XEZuTAPtR4N7PZSphZc1QrSx2jHGq9foUI+xSYqKxgVc9m1ZXuXUv7I+eezEap9ccel62WAPFCWDkLw3X6fSs0xqkePpvi5LombJ7lAHZb0V6wdOdFAsZNSP3IvA+OlCj3VusHYI2deUtQt6DLjwXHKHDwWXWTQRUWzBFz2Q4xTKfnnCFZvh2aS7VcrTTymvyry/Q35pSdqveVu05CebXES8t6/ZLPZeBlhHwJEAHLI/TIVu/m+5nF5qnOt9Dm+7VFa9r+XoaQcduNBscQY0fKlUow1p0bPSPiHvO517+8BffTNQ0fdwyjxJWMGkX9TuJ3aHYD6ASaOA4EBZN17Fny/RcBxEd1FBoZcgJ7FJUop8XrfWrvWdlAi0KemJDSQPYMeLSXY8TKgYkpBqFITwi1RDrJ6ScINniHvMPJN2ROEDiV9Z2Dh2R49jUuBwwH0nj4NE46+IXfTAUk4pdQg2Cqqe5e+Do5MfNdC4LW+aXMhWmyhW/jaBMW8DvTfxlPdgiGlQaBVfVbOwhYbEjABOQQZskryzPvIHlepIOcEnlVLtPmFTm0BPD3SC404b+tauvEO3DPYpPOny+RW1Ox/1aYMC+6YJHhJgzOKCt6unsyWBHlmTh1DGFwvLxIYo0HLqBuf66d6PKEbFSEpEqzBjV+W5WL3CEBxW3JglZDy5QViA7oKcMJqPzPGz411cXOU+PPL2Q/i7xNRR4zfkO2A3acr6VpkJocx1kbMBDxakIJWoUyU+JvAwKI7sSXbyvqcDLMGB5DcE4arGhgLWmp4eee0l0IVBz5XBUO8AUMnu1vliFR/HjrknvCoyL/1onxP6VMVIUlZqDyc/dmMDEfDIEu5Ugl4ib2xdYgjuftgUQmOHO/7GMp4VPZZjNTDl5hWt1cNl8olrolvzDz6+zgxoU2Ta0P1h/VjlVw2vJqPqpDCAlKzKGF3ieCfoizxJMRD9Wtk+p/0R5XNSlmwGLWf3KqLA/pycM5I4PRT4vKX1/nwZHogxwRSGeSh2SjM1wLa/ZiC/ufjVvu5n4t+3mpA8MDgdBIsifgNcejDvCiM4KFlbscrjPnpw7lV50AdxQm952tj4wWpWpfPB9GRv1UDKV4BIRIRg8HYLiv10GZx5aAqL4tyvs4MS3kLMVdCCOMlQBGZNUSQ/21smfYHF9nD5dPLmVVpjlqhTnAF2M/OKgaYWfCiqmeIrcMowjqiqNdWEhJsU9X7sZYHcWHeVaIb81dVSSx0ijhLsn0O/IoyZmBhekcJtSBm3Amb0QNcDSCeJfitYBjgXMSqgQEzmyi5vOelK9C8+NnFFdjQs36Fguh2dOfS/0H1OXDWt0N8bkfh2oQa8TAchOv6pyFsXH4kXzCyiFh/LcqmhqyHUaLPGL90lx+Gvweq0CK6GDy30rhBa+sn58xt4nKRnQbCbC4uDLyaPnTeNYDNFtap+ZLmEyEaC1pcDGGA2YXnJt2TDhXf7j1JKFJAEy/sfWUEQvUtJkCxR3SvD9oR0hv0Jg/2NKeYWf0PCrDNjlIjpFMpb5HASHig3dP0R/a3ggsWHoK6hHmbEkcrLDuRXfng3FvF0RE3dxqDKI278Itc7dZ6cQOCZIvrnGkhGop09QidGus7bpMb8v2c0qp3CaXPCwyof2Usxzp+YRCehT4GgGn930FuEULXuc+lQkTjIaOuNVUFJ2grkIz52capWzaYinyYwz3rf1VjeUNWhoF3yum7jiGKO066pud8w95ZInYOcoXrbCIMb8XRgyvNaOSZpv4HtfmvozlaXifUTtXM1ypIYa23/bEwiDshe8Mvci8pl9ItaJpJ0gtutLR3gD7HMu6omk5rtBQnZUa8b8GQ3H/T67UIrZ2oKv9/yUZjD1P5joe+d4/oNt3qyBy1ZrpRMTc1nvbPzTxQPmPGKsYGtVuoBLLbBNytL+C26DwKACkpdpQAlpV3pFfzyxHkc4u0UYi8n1Ic0O4sRscIov6pwy+xCXaspDDubuCJ8tHJWGWmZDbj+BaTh3MPMZvla286UbrBGrubpAWC6Kw4RB6sOL1/DvQAPaWu8WQ1FQGK08oikaGEqhDUwInzyALN7wO2sNIE5Abc9bvU3Zm+1zflBnKrtdnwgI10fsv5n+SHO9em5fThgQk1y57qVRq04dDrBbZUmuwIXJ3K+qTTxMumkZkXYDNlWFmTc/mbTkumciH7nEWdXVFtplbue4FYIllkqeBCrJgGiLahI3/qe2aBjB7+nX8MT1CUP/wxm5oZ9cxddkrNJqT9fhkrL08PwAwo04cmdAdrUDhxjJt9bHGxIXqPztiJ4n+ykJHQQfV1MVQ52HSir8gH1Bz3JsLKal/u5sNknFoS8e+qaJRRw0C1ZJSFRfKenkvd3TEc3knC47+sWkYmKlC11NQaVJJKmyS1xml4X2GVlLtylkZtn+GjXDJU7fj8pk2m0UxVJDWUqs0IS7JBf8QKYS7rdUEXa7h9UgiLLJJo0wF0q7T/XHbj/U34TWLr5+qDCK0CjxyHmiQX96rOaSBaceVix98rVLNYQx3USkk2Uhf63eGYdmEWTYckVhVY2PcLxo1c5g1w4eRIlcBIBXzyROXLOfXmMraC5TQL4Uu65TFP3HTdfyDWdt66QZh2NZ9P4USHX2Cv2kSElYb928z0yn4V4QtaeVLH0dCmWELbaawW3lx4aha0TIhDGRPva7Vo3Ct82Q5C77DIFUzUYLYHYJnNPvrqXondHBbjXH0ALkV5e2jnT3/diEI0xT02GCbdYqmIUQcl4HIH7/h1nzxhl2tmfLnMPWm0ra3iME7xa8tXRMieUeGLKFO6z2CP8ZwufA6SRZqVQtD5LjpYI1CZtGNAs3O6Xx5As4I7T6vBsL8ucGyw/XaMHWgGsBZtcYQ5KIqLfKTEyc+zi7VoK0JgMgnIPQ9TIfD8AfFAeUB4YuyrWsYKjja/36OqbTEyEOB0x+Oe6DpG6L/kvP/Gdf4D2Y/pnuJZxlkzSHa90V+XAGQvcTWzm9u87EBfSfJEOPAtQK2F83b96tX56uBHNnB5yOnj61XFwrdKat+Mynl+0OAfPQ7Mte08OHdQhW6FlsbYt48aeVZXHxiZrZua91uCYLinQtLKPGIHMNdobsBA561HVp2hVOcDJy5z7EEw2UK2gK6o9VyPL96KuQwmrFqr3kkGezMpt4nfSln9hj79o+YNp+mHgTPjG0SiwOjNLoTck9zdHFP4g/UfBKFP85iXvLOBkLX0vj/qWWLreF7MR1f8k/jnfSUBfLTeyBrZ7+LO0AzUcNBJVLETTAbWgBb7sJ1kNDTsx9MbV+izQFPRYT4YRRJRL6doNUuc5jopaGIGsjgiN6Y7uE5rNwf2a8JSDxr/msZfLu/AvdILhXLulG4nERj9k4XVMLaVOxTKVOuAsIG3b+28pZC+JUreuBVe5dIrwVLu4Um2EmPkEFVohZI58kB1vzcSVLn47ZVs3rbzEh8UaQ7St6uW0EKWN12V4qfiG1KpoZ7A0FqRQWMiG1zQ74yXNS7mcPpNks7VZ6RVw7Va7VICXbluR/NoBIn+btA6iucrh3W+qzV/khIDAv4RJA5x+1coKEiG7OSreZRfcZ6/FYZHgrRXiB8aGjDcsyRuCate2esG1YEuXN9xI4Uf+OgO3oeUoDquEfoo5oa7FPWnnhRFYm9rTWvy0O7P7twKl5qd7NOQsETnQ58JNs9yTQf7nTjeTG/ZI3/Zur6XSu05QCNgM4M3GIDPsxE9CrBb+UH9mT0TwzuYGR+a11aDg0MSZP4XfH19AtFtVrcqm2WR1QGAAiIRZ6H5yHlJpSENIPmv1QUJoO11S8iEohKYL9xYVO3up/+0ibLBd1ftajgwiXV/hI1HPUAvKHR6IB72sXLnm+MKYY8c8nzj/AtafPD8tdu37ceb4eROLGYtXIyhL2yN5aZTcRCCqSYDSBTrhwhjAhyV2A2zeip/UfDS7HbGo6T4e45LVHLUeeusYoYkaz09YDKYMIU3485Ntx1OQ3Yqc+CSBsQzrxUQZOG5IlQBF6lIvSb1KpuEskkEyf60jYUj4gh4BZ0cgA7vdCqO0m3NEQJdF2HmptT3WQOrqEu2HPSGO9so0QfX7lRnAFQrF21jKOxKhskkGEJAkoXtpF1NIIxEHIrJBtFwBUWpuLfu3sgdjVUM8AKE/7ZYpWNxVnFhhJl+LQrutBpUjgD6Ev2EQZVMWcuoCmzhRAcpjmv1S6EDUeTSSEuCfwy9In0iphYvETzklAvGQo+i0NLXgV0CbI0pTG7y8EbmPxUt5crEZHgcHp9pFXBzRhaJwkMoLnDNHq0kKz+LgjpjIEYNYVYqkn5lZDfZieFcXh+YyZ2V+3j3RBzaZ/Coc384n7q+kmvRmyZRajHq+spcAUjy8vEklFa7rlE88LZ5vcl9QY7BWnD3bPOYjGMnsunlP2HfVyPPYtdecK26L3EdChBxK65n1MzqyLX07HatHKU4milQUQ4BOnREkoo+O1ixMFYW0RXP5qYPJAjhlhia5AfHPaS+wn1PNpMaNmFxUvObFo1bc24R1wOWYUE8tEvIeWS52wg6GJIcvt+IdS+tnQj2SJlN7WoMsq8kwSnSSUjsPhcEDVCCSNoRFSP15Epo9eDVlqSqZ5MTRNhMOAjT+91p2E4DIh6m3Z+2rqKojbX2auwIZi8l8ZJJxluV4c5ikutJuTtf1FBOFuDYGuL3GZSGDsfKy+69NcMSssjEBOmrMtoz1GI6ZNYHaQgvGCmzbu+pSGvSS4NoCnjEG3pYvVX5t462XIuOPzBu6cKIRWcnltSWC/3OsZgKAIvT+L6xQ67s3A/rU1L0MeTkrvY+DyXdIx8cV0a4p9rzWqkQ+G9qBufKRIqs+QjH/g+MZeMqfDvWHEGlX23LQpwc07oCjI+qCvGpmhZWerchmubhkOZZKTz+tJQYUpuPaA0tOP7Xwp+r7YWRbUi7Dzl99aaPgk7eIsoHPaVKhTYdvMHtr13yOWeeiOf0IuBYBccVeZT8cD/GObMOmsftZoJ9cURDKUVOF7txoDuvQPb0XqiiWDw96rbOoL9ToKsT1Nf70QoOadf0SJXry+F0Q1rv1KBbc8aXY89/oM5TrufF9oFLU9DjUXn9DbtkWHOwJqa9j8iMy5VRJcKvcUTkvMxitlLRKzBP69zIYVQIp25cv4WY7dQ2HND7sLDSIWVMaGcbYujKD0/YNSoPjOf++9n/lUx1/oq6TvkD4BOWYP9NwNO/Jwtaup5JF9e7JxbDeBTl2kAGeZ0tw3lgsTTKxLO/yLvS8Slv2344xKLCl4pYvry76rXJNnvhwmE9vc9/OxFU/iz6A3CWETI46DQHPkolEJ2yS8xTjFLDfHFIJrYFzBlCciupYwukYTQvgpd9T/YS1J2W+h3AmzgYCVO7gWDpO8aqPTcQLV30jVyXtpjcWORgg3g386TcAlItGzAht6Lwft8pigVkU5EcF+5tbGME29nZ1EqNT4vLdHNa2NPL049TkOFgil9kkGh4UPiSJxDeP9GRUpCRSj/lNtuqKXhsQlHUo0R/3GKTIVf8u78T+9dgJ5GiPbhGvPrs2DbGU+NaZhBoDPNXbqFxqUwTu6CAezwR8MgjaULJk4msLyFSq0gZFmrMD/0XaG603amLAse9F39mSCk3+LUxFY+xA8uRjoxlxMvgJvPaqHm22jYBNDa4+0G11ldieqx1Q9VIMRjghOp15/qE6p5uk4l9IXiTD0vSTZVt6l/BRiyEsmtSqOzkarWKQVRNu7Wk3NMZGt6tUSbtd/hdOYZMO1M/wuLp2hRaGGh+uCVHaMghsg7nypEo0yHrGE9QMRg4Rg7kS0PeCBA6QZTMKmtoxkM7lf21xYBQICKD3NRrOwvFs23g1r5bh2Zx7mfKQXfMwNKt5GtirieilTwIzr657jWAVt7LGhGV0Ynien/F0SZY46hfcu9hrkpGs1FDohZfaxrOrZkd59oP8772vm0MgAllZtL+8mHLXAkwCkYQ8Q7pfbxipe6JNXnDcRMnigmZDe1j4tTOKonhtMofCMhMSTcjMY46LVHptFZ70V5sAl3SP5T7y3qO0ihhHdqI7tJESlMWCBxIjvEsLo7wJx8U60fdg+PLIwk/qnVwwcPWefZ37lmo0VKNFuJnQSre/6b7lwLTgJp0B81ETG1jq4xVPEjhMUaMAV+ObmWD+sHpICHQxoJ7CDnS8EzaiUmLT5N2g45/5MvOvL+CXbGuDE+eAyFlVAQcGH2q2GK9CqlgCYiPp3VFA4f0ytYGchwnuwwIRtyefg2920tP0D3Mk9NU5doVtL6/xB0vPMFGYLRgLLj5VsFrjNHEcXmxRs7pMWUU+ZANXgsTApBcvJ7OOqyiswsu0YyHg4Z5eK6pbFUI/ZMUk3Z7pYCT9nhg8hW3l3SptyruCRNmM3WMl4RvTxsQbiOT7YD+UABoLRly8EDOXxBDG1c3Mj5BT+79X26R0t7tiEaXwYIMbvwW32FRH5Ha+Mu88hRdA1xSdn+G++SoWYVvrNFz7xDuPdcC3vL23kb0KvK/sW1Zo7enWpSRRqv1OL7frC6ikUkzTew4ib+20YFyIrbbh5np0Ys5WZUtqEformRE7Dv7+vYO5hjumjrp5SQYwWmV0wkxY6AUVG8/L9OA765lhcdZ5wdmy7KSYrikLND6FHJ8ud8M3OciIINU+1+y3jTWi6MlSDb2KDhPRS1Ueo/PucNEgT799gpOBbnnfyNH2Q6BDRXdV1/CcvFuS1LleigdGuX2kbwum7rX+kJoacqbO9zrdDy9WBLcFZhug/K7fsCHQy/bOqMA9NqN57rl5hXkc2EYz6qoImKDpyg0Vx+rh1OtmGq+xH/69M/+i9MD/Gd1hzjvTXktMtKHYu/SDPOg9bBWMGPWoqPXkMOgGBn+NY58k9EdW5L0awbZV3ZPqSaRxUQPQM/fKIXhubq7jHccn/k66anRMZ4fmDnMgnwluz+nMYsxCtmBb/09TTk+f5VtzzOBGJdq1XntugkEuAaL/XYmkU3EmC8uNAigqvhcP7dt04HW2ANhJk4SmDc0LIaaJMcgwknartkV7OBA/9AF122YO5rewREY6nDWa74nKDqkwu9lwSA59pOiQ/pi0FVtegXFyEe6x3s7EC0QxxoY12iQhRpzFJod/BsUQVMqnwMNvkgFFFRDAnEFj9SBu4aNmMsfh5pdpjcmBSpTncrTRoZfn11nVGRNOh7wKMPNxTsGQ31RNFWRLsPgJ0Jp0dw6JZn3iaTzwiyOIEGlUIAMwuS84dLo4N/Af6Z6zjOHr7V9kcmA2eEEd9ZaDW2pw669VhLa9ywujoPJ0nApYraQYhhxR+VohbS7kfOyJgGF4KgD5cIAY3SjBv+B28hOqPMdEfyDPykIiqxZu+EPA4sClIKxvxetBhmUQiVBupbOrRuC5xGjy42Vw0JMmJcKRc3dIeNDpY/nOLVfOYpj4/TbxBGA5nt7oHjYSvXPiw6iuFFkVZ+/3gUSMgR2znSCrAnmKsoR4Vv8YmYpsPjwApUYX6nr7SoZkIU8MiIi6gNpo7lzvQrVWZc+/MF7N/VVJiY5AVFl/ReJC0D27Zpc5N3PSc9MNg3TrNbLaGLJcMxIXSw8AEv6tezIOYtit5O38cwjXG04cSFp82nCwwmtEfMIlIYm8efVQWyr4T787+zLL8R2MrQCatI7T43rpqs0wxVwfkxovL6GvxoQ41pJ8rYbmL1e3PbEYeHUVXh2cavOeYuZTuihLQG/Dx7yFA/XeBB2HHcn+/ZDAmw9AC3aaoUKLudLwNWurmhi+xEYLlBb68samSyVSO54dayt5Nee2F/yv5lDHXRlyryUwHbqbxsx8wk//5KkNKawCwI+CXwbwsMNg99OVeMnffj1EirPtacGszTIDfbVOPdldf7t5Kcu3cRT8/DLt5ON5WI0KOIdit/AY11nnxoaywC2aJCacw+HorW7PQDnmbe2WxMeLbB2PJD4xiR8zD11JvbB6Ma06rtdLaye2/eoir8fGiJsxaYa9J+0NW+lXK5T4XINxZpNTQ4TyGlDNQqPCwy7bvcAbGiB+FfBUnG5bd8ABdwshAiHx3JWC7pG7pAsAEuM7qrCbDlUNsSQalPCBf7cvPMzFqdjo2M5R/0bJdZlm0hRgB10QOPA2tXYfbVE8mZ19kqYqtYUJI0dHfsKaXxVeckveAxROu70Hd5QO9LfOXPNwVxOxMsbhMHLBX2LMIhbqHYWw6fVNP7UFi8b57RP8Ywviljp5ZL6ajC95Xcr3ExoHUTIkTIiuGsMoaME6h8He3AAdnyQBFtX6CrbYy+isidbIbZFPA8FakroxmcqgsULejypTagMpC1thP3TKYV2lSmFR2GU05jJZ8vw7WAQ0cQhnwXX88t1geGvVvHHBI1t/oAX22m9doJUJKYmLVTFXiKy6G7vAq8H0JAHvG7kr0iIFnK55hPkGfF/Iu2NQ89pNv9ZXcSVOyNB3kS1chAm3AvkpupSTu9H1To0YOi0J7XbsY9U75xiA8G5UdSgREpIT+NfM8vpMYOtL4EKcUZ3mrbNBRq8dBouZaUtJ0fx6e+dm9ajW/eegmjY7zqcXC6c/S23pUL8Xy2Bd/0m63d48kWZdBkLc8eM+NCQijWhnKlXv8JNc+daH48DfSEwGqlveRK4qeF+1RCkFHUc638w7zw105iWbgl41AXBdcnuI4V4TuwYvgQ3BmodzKZEfSSfsoi/42FuCCMSgqWPHj4UGss5EC5ZhPWr0G0jM2dDwh+yDeZRsrOwrYVFbprhKBv9LxN4pAQjRRUkSQu3GnqY0trTleV/CT4vwPFMeIMEBTPBfT79JaluRXL0D4VGctN5djhEqzRVz/vkm+T8JDW6iYUjgEKYda2sGDcBeJXQ+BTVZzQc0ffKWnoYgdsvcvhE5sWG9L7GinJ+GJ+TKkFQMcxWOtsAxF0SK+9Jo/33Vgr/r8W+dXt2jbcfU50UCySFkvPhZ3x7i9b8YhQ2zsCfEmzDKwKZVR7oragxY3upl/poD5EyZDghHDtdSnhzg1ih8jZpK1xwtTTDzW0l4yTx2Idoy0rxIryOEOEYXrQbdY/dgCBrBW3KhUj198X+ja+gCYyZafI0UrJwCxp3A6GhTMq5NTJKVU9yzhZOXoe93Dl1SJwq9DbdCVFcCR439j1SLB56NCerF7uLyCTsWBk2kGN74Ell9PZD/sInSa3D0CHn+460+kklOINsb2mLn/jT64rLNOfxYEF4ehG5X6k0t7sIGcmo6kMWOkQ+u9DQDCS/lCczOndH2+/1BptRms4ziCEaeMGRE48sGw2HYhJpdpxgKSeAbaVBpqBJcZWM2GWMRbwMo+Q2yjktbiilVLSSEm/X8vxg7JQaCflA+YUTxwzzvXgQR7gm07HERM8Hff+f9Jcq+GXY7/dm4VQsM+P3hGHVAsxDAyTkBLnntiRXqw5u18t/KO5A+jHdETidoKe4+AvxXCSRnZjUPtK+X3PW3QqVesZYj7hfKotEPMb+Jwt/ranjLahaXryuztpuQQvxCFFBL2uSKWI9+XrGPG3Sn5QKwH324iDiYi+FiDQsCUgY5/+2I4Y3zCHhI/lM2bVJZPykNUiZFvNDJT9sV27t2NuDFOMKIgAHXz8hDo4uJCi9a4LQlv6t3SjpeJKh855S7ST27+7DjKz/hXhuIFTiKLopIfZmmvapgPvJ532fv2R0EuIIar4D13ZfN3GAymm3HXOYtpBjvNqfizjjteMSHieT4GpivQuSl7seUKLdjW2gyn64LNGdiisf1K5QBUcIpcXMB93+4XPeG86vWsX+EvnT8anx7uknoRYSWMKcJ5FOSRUlkJPqHhI+K7axlycx1C2lmuFUvNscgZRL9KUimXUiw2yXlWSb8F4Gt7tGT+gaPLZCMJRGfm69ccaJ9UA3324JW/HyaqPQ5G+03HHGrRVzXE0ciZj2YyisX2nxt4O4M8TrsvV6taCJG7mvBAUkgrlEF7pDKhy2aSl/ZTE+SWjx4xVBqmB73G+VLCCka2yqNbfQIxFTEfi6wlwZ+962srq5XCrnSldObdtl4FgoEs/IzlDjWCA6oUZPmf42H9SR8XAefPIlVbia+7myw/c60CGZWaxKU8XeQoCuWrMOQ249FwNbGc8/jZj6KtWeQt8A5Tdc+o+hRgFsAJE4uYvhm7TQMQkSeW2A2c/K6TIgVg+oHnZWk0Jm/RQH6Z8PlGGmqTZ5argzgSziXEGcC1r/VBFVnTrG2GaSHgDWN0EytPwMIlhoyB57yHugPWDQHAE57qMMDpUcd7Dilw5kNIuaXo1iTfD3OZZPMknA6u6eN+FbPJeU2zwZbbqAys7n+9XA0FLh9dcXpCawxBxHXhRwZjkLYre3jE74VSFROGFjYlYH8z5d6tmYvYUKqHPovYUkh+Hxe8l8jgvSS9l+OrxgywEyyDnirkDumU+Zi62lqJ5yGUXU9za9c16eVDGu/TYoSiRs92O1wG7ufyIsg6gBwuzk2I4SHg5UyuIkxPUIMr7kKA/RJKoEOx+eiHYkJuu7DWMPB8q6THkFEo05CIIaMj/J7dSsIqd5utKqteQ+4bmB4cy1WWmERsrRjyrkUAfwW+I+Hvsfu64NSHCFNWv+rRPQ2R3byPFWCQ9fFMqgAs2Bbh+JhbxWweUVhqKWrEpKPVMHTOO/LBl1xeJwnQhCtK1gxW/c+QZBBTcBnNOQtI5Xa0KHigyEgOv/8EhBuFt7M24CfbUyIfh4f/LG7uSKCGiouMV3gYqTRzWNbo94bnOPiZInH4kgxtTtw047BpozEVBckZwNSClvxC4IObo0BB1shaCKzeM8VYrbJyBvtCj5CvNno2hj2ic2zrPGmrbFSSevxqqL8KR42wDe1b1TampiWwpRiUDBbn53SqasNPPoDFRF846vWxL0z1bT7KyPZYFyO74f850qVMOjn01SKgM8qVIfnNHOzd40zXkGR6wEJX3n3maC50sW92QbNqPu3TApc8ytV4vkkyQz2atbOe0TWX89bxoOdJQ8lEIZicSoy4pnHOdyKhFBqAnHUj/H63bH0g7MRcqr3zq/2lMm4+dig1jW9Ll5bYyv3RBP7vo3pyzMfg2RFgWybjERisCzFoHxtD8xJBjAHPTpQCSPkr+lyX7+b1QJaqGE7H0H4blUiZIBSf4klWeV+b9GYsTtys3IKMZKz1u8XpsSI035WnrwtNecOgUkIzwluGE5B6XKDsimQ5LesfI2H+WsvMmlGmIa36YxyIy/1m63ZXD60M4ozBVjvLH3MliCtNdT9qXzr308rI79yBb2rICxmiMXWSZuc80VyFwvFjYWqCs09JG+dH9f06hfJz3KBbFH33IpvlYLgY+T0Vp0alSt/HUOV82F+2inld0Dng7Dc+pk+301yBguXbTkP7wFB0kqa1kOyTiUCUPBUrPz8o6clla6M7fCa6CRk7WpXFfLl66/A7zdpcCR+egN3RX6sTVoyDb/+4lrL0IoJKcZI30vwZtMBd1l+taFvguWjIQj7bmJ9GXIc2bz6J6vtwh2fc21sFASH3LbYRYTCqLrR49hJGujzrfq3kQ305Xtlu/+UcNlo1Y71KEUeD7MEnbjXSptdvVc30+mZriZB5lwWH9RiPy0hfBwAcqOhC7+DzYmidH/XZTt8Ko4AnhUmsDkOuZUjadFvBsVMeAF7J6z245I4a6m7R/f8xTOnJJeproHQjLlGpxrA/83o9dNlL9Z8rG6M/RK6g3qRrnDph93TEbg6+7+cTPwmrGE3TwN2haSiPMO6zaA9yE71ffnnqMMSwtD7YpZZFbZBV4QzCrely6FH5FSwhM2BM91XuisBXzAV3ZzFkIwz58nbP6STkA2J8ZRvIsUPV5BgdO+mnxe5ntuxEhwCncXupIxMdRr9CrleSi9+flBAQ8fjpoL/f59E4Fgd0LVDaBVd36tSktiVksLvXTSoI4rMnR5O7w8zyAojxF1femetTCbLO6/shdvpSn5Kn2+/Tf7x4bz4CGRr/e2x+dXMVURxRGg5/ruXIZVLGb0MqWdKuQ1nRVJFbRKljuHrRoYMIxDS8IqeUuzeaace/nGEOretpnbEPxtDFsgkHRVWbLxXF9EkNEcPKLLt6Py5/5M9CzDPsy9t5CwtkF+/UUvFdiI2fdaR+KBCcfdk9ckBk3vTojuSYSxlln5GZjP6ZgM3nRQEf43Mqf+J6LZ2hCUV9Z9e1Ytr/tlYpKkQTumR4HlSQggVPZMvSIZ3+MLKDKi66DcgUOUOJ1k0H5fBXpzpEjKpISghgAWduPRymtLBahUYZst9cPHSQ6WS8WgEn0/wXoPxM5wfxtoxaGZTQccQSEpvWh+7fCgBvDy599SkPVyObxHa8PwJaIIVRFa6PwZHaotbmosF46OEkbFjf6YDbVELnpcElZeqPm3fZadJ4ukgga5Hcr9GyAy05UAPO2j7bVB2zYANf71IH+nTP3G1wuG66mLulmCgd6GMiRRG9H/HLIaQM5GF6LiwxirXZIZKIg7eGbEu3x0lgDCQpkW21AvSVE8qpUrGcAIufvJ2WciD/e8ir1GFmxRhg/QUlrOC5SICEJoK395a/ubyPmcMAyPEWMGugfOQencOOhTDgoojH88KUrGlfhJdkgD5CxEBCZF4BguGH4YHuWLR9M+2ITNmQGEWATApijG4dT9wU+Z6PGwvM/GtuRk78h50vHwYYqze7AHBvVduywt5shrRGa8Cosn9ftteRDgRe66gkyjBLU7yyw8BiNA8M43IZ3EHo4sY85MCpz6WZJYKscJk4LphLayutmBGIW6Yq5JFn8wi2y1vytdv4VPFhbq740eBzR7dCMzF1dq8Mrgwoq4yVG/cNjhoP71zSn9Z4KU2f/hhxAQ4KcTYt8AvYgcs8UMO8CMGYJ2LYM5Cra633p6ZWrtCpY8Z+wJr0Dst6ptKnWsB3B8/D9lDmlByJXCMjG+ER8sGK7bCH4xmhhh++BqRMtRKhPlMqRTVEkJpf8r65cBUn2HgcDWiVjj1JSzzHDkWEgL8ZhlCiiskUj0ldoFIrktZaTnV7pNiiX+IRil3/XjGVuK/+KsUhbi7/MsUiby2Xyqm2KTL3J/xwB6QSnO2eFteoAokLf0Y2A+MXCJQIn6mARgYeZwqVTwb7Qut/VoMaN6bYjfwXB7txt/xbjzPZAWjlnKSzeRhflhAlvE4JRvFHUeROWRL2DArhVUq7V7Lu9HrnZyFn4xSsHqNkf4G19d/xLqeRnOdKsLLV3ZnX0lpz4cO73TOf7odPY05jvGgqORWuUzK6swhXfJV9NK5OTOHpwyE+UuL82EEWq+NvW9R2NgNSAUdJEPcbsUKVNHEAhpcvHuWSuykq9DEr43TgYj95lCrNLUTCocGZPaQOnbwbYIZ2VDJ+ovAsnlnnsJtl134zqawnAkxUjxCh6zx2nt+j7n7yXQ39D6/D2QEMTf95Ilkl2ahEGUfgaww/xYIFpBtp/TIbBToDHoNXDUKmKWf8l+3hr667LvHiXkRtF9IN5yX1HnceXxACa+aMz8KJq9tY4ZpKmog//fJ8DpTpELv3FIfmelqc4oUE75KJ+4b4TBTpegf+3SP/pDbzWc0CiX3vYtw3lcIC0cHtPtunY4jEHRVSqnakGeY35dwW8tDlFlCC33/opiYT32mBTMZ5/3Dj3tt69bVNkRD15BWTGjoahc/kL7RnBwNfYWypoNKJi8uB0YWa7qf9DhF1/8GM08kbdTHxzPdbuypEO8mKCOseFqaYigNMP+5ZiX82LsNlUSXpP3EtibNcWicPrKJMf4IGg3+Njlef7ix89ut/I1bEpG1WwovHUc7tAZ3FzOsVr1h1Vb5Aarq+ZEgw2HkJPlWKBNfLZbVGVxEPx/P+g5USA3It+RUH74nzt6FEiv5X7VQ419+gZb+wVxtOOhNAQJVj7oyPOaMdD/XOnM5a2tksCBBLkI3BxJirZ6u0rM+4MhqeCjzsfSTUx7cQh1NWPNuTfcgRkNCBwVH3dTuTDS3V9QQwWiWUHwXNhoYJV18QlUDrXF88mcmxW3tzY6Xvik9HxBFrA2OduDEODkqVJtaBSrnDz5LXps05BBR6fMKlcNk76pNZtMvz2EcAZG/sL0D5GV+S/xV9re1wd+/6zznfHYhpLvV/p2EDMRojGJCGNVDtExgz3ATN94zN3zCHOC739JK9bK0WeuTRKjNf1f9vWk/kJeb0SaVailAoWsH3lGQovLOnE/Gxr5Rj9EHig6S/u1PAh5TvIAw0g14/COTValfGz29cq27ReCf5LArExzJkA0GGXAHxxueM5ZLGcrbaabpdOxv54IlcVtdrjw50/bO0cbv9ChduzT93ILm15PdcKjqdNJnlJZ4giY+AOpGAGjNV5jpezUD+g20s1cN4wnTjEoDdYxmj5bSXVnTuRu3qHCl+El5ju/8b2b6/RwcmD5W8is7XNEaCOmhbmNDwuLatIsNUmF0IhAf6tVnnKrzIbZd9n5xmEPPYPN8v7LlJHGwYZhnHGAwo5V5JrspNB/F0fa/kjh/+xNWRPnzgJQSMQtg3ocyLpOnZ8gP8BI6sY+anyak04qMJpM8mBWPf3uth64kmJdpkXalt+AalWCG9AGGUeepinQnEAClIO387Mfm6DTu5seU47CTmfsbsKgslN5LQS1G2hBs3eJOjiopmg6UlOjxjg1KvZPoGPXg5hDb+gJB58HXlWe8Ylt9enfgu6JMI/Z9QY4dbzbF2torUTcquuqKlBhzliEwA3TLoWwXD4fgPx+Z7utN3/RncbDQYfYZUhYcmshes+2z/cXF3A9Uqh241yG+4e7ZR9PxdkTcxrN5fXJDfBnxnIMd+arqG5/j1Lz7MZzkhYa8jBfDT4uz0Ddj63vkLpL3VmRZKOqbmkRqZfpPp461Fonc0RrMs/uCsxR+rOgaKaAgXrpMHJy75LmRnIFGt5VUyCz1FUGCwnHD6YRTVta4bff+a8PJFrSWmlIszjt2eOdDVlstAKXiuJknblaVhh0utspliBTx30zw6j0ggIGjvAN12My/3ZsHIPxeh+xMGZ56ovqc4BBo6c2gswO8AU7teL6ZPMI5OMLNkDuABST2CB+LKYiWvN4U2ELEV4jySsC4OtPNAexh+2er/prVbXDFvDhgCHZOUNdjXSXlHg2WPxMtBEULbHrn5xzE3ATSvbJ/NZujO38cM/ooAeb4srwAkNFUPdPvHIZfdijURhiPFmzdIY2h6UyqIhOfxKaOs33feXuhWe6StDBrZuAl63U2jdibFjIc9ZeWD8ADOmSsfquqk4lhOC9RrV/1IX38ALtRpCEVLc1IsoWmglnhs+/WSm6Kp4d7psrpnhKRvo4JQ9dzwhEt45jA7NOStCTkbQYBQYb9Yxbn27T/LL3EUwKfhgwpgt3gyIdsOjVLNNeGjro4AQD0rY3iWJEr748TjbmB9HrqDRwJ8MEyQpcYxTvx2pnXVJr8X9RzojnSjrpmwUQTQOroAdPa//9Tcs5B88dh8LX//3llby62OnQhtAYvhbQwCSw5ZMWi4z1RDiws7MqzybgxdAarRQNhxFtfyGKo5+JA4yIszhSohkZo5+ThxFFZA35tBJkGjqitidbiHNyT8kV0BqOzjPuPC+Nr6X9NpzFh83STkXHcMMbkfIfRty86luYaWbPvVyw5hTDyJudb4TePi+wxMIwS/USvyKnlucgAhxJ0RY7ATDa1RRemU7aF6Z6NDFaDsd2Gq9QmMrbgh++5SCSFOHdEGepCy6NwSNsvuZxLW2dRcKqKSWz1aM8+uQzWWN+1cDpk03aF7eqF28srSVPsqcxakAVezu3Av3FqKaY1dFLH+kPIt4pOEGKne1FWHNgeAn0tM/FpGBKttn85pMX6qxoRqU1dEHxDQS7vvwiIPIZWI6c641ATEt5afv/2AeFv9n0Tz2unM3zk9vlwv4i3t8OwpVOeC8VG6wAw0d/gMsZLXIAsxKbzHueRWQ+X1zTuWZwE9k7m16g24xd1tNqAQIdDmdVw0ShLMAj2KENJ/aa21S2RrkuYwJ0aC6BsvuaRfNLgieV6tre4LpKCm6KjNjeITLbpY64DIXa+NpnpXmFswzIwhANQP/M2fdoqJKgHdvh86Rx1wkY4U1vCWDoaKfwxPg9R6Tn5gAu3jxJz6if4de/08071JwzpUFZ8B/iFl1cegBhkzl+87byJ9UKmc9DI3FGNP8vIvRP/CpkQRW5r7NoNcVPnTq5g3L6gbKwuQ1M8GZ7zQqTrqcyxA69hRYN/EXoy+ABT4Ng+5vgIk+MrwLEsV1wdV11PQypwq7d05HehY1/IOCLgxOxbWS/65SOW49R1ND3Ubc4DjhGSg1Iykq4kEJ6NrIFAbA1zmEQf/ZRqK5h6mNK+2ePy3a1unO20nrcl+tVvn1gCn15T3Ye9ApGRsV4xxSx9Y/AhnwiHP0yV2L0GXVyrERl6/QFObRv1q9adLkM9BXhcvbOT8CiRT7wqn+js2v8b7tUHQetyFxqZf4oNHZwaHNnsTGfalU+zUB7yy20/gpvrQOJPBPkNZqeKC7tM6GReopkK2jAppGMczIUOyhb+ovxIfNVZEi71but3AGO4VrZ21wrMqyR4vMUQtLbqZf7KMF7zg/xHBdT4vlCw9AyVwcrFUl2gptWKKYbwiOMNv5wDFwrw5bE1twZCAQkhYX3kXhhMUBi75rbeNl1HSx5ptUIk3b4q4pCiKoPGHat7CfITv0JyjVAe+7qvF6A9qYKLshAUsijc8RRG+Gd0RYQ6Rr5RLnccSXjU9sqBKSkijwJrlFaVEjRKb2ATf0LhLa1KCj0bfrCBtPJQ/vKuQ0YL131XoFmKNJH6QjD/O/15mSuzx4TZUcs6Wt0xQzEwd5oncE1SZYKontbhAei8Joz8uqp5Crm1FcTxqS/LAm/PkexVO5BzYUlR24HB3iD4RAcst72hzQKCXpF3z1PMCY6ZCO9rf44fx9bUcJ+onGtNuRAJeHWmWQrj2IsOMVy/B4tLHuWwozeYs6XhQB23f8vcHx/M6vjnKPInAVqtGlUGFtGKQWCbhJUa3OW+0/VGfviWwc4c4BiLFwgWFwTnI9nx/v6VLfj/5Mc3Z0z5qY28+1bXMeBnvsZzLdiZmysiPmducTJQtmyCHmhIisLoZ9dd6DMWwFBhPpwFMJstIaaPwkMDKc5aMStT+1tCt80mpgOInlPV90xd8scLQ8vpSTYW/P9SlZtde5LAVNrB2h3JNBKB5Yo6KWVxEjx3BwdQuTZgQgAPV5vLyi+WHrCxOj6GsGOI5FUi+R8OFM8XL/25cw0fp1yX2+LkmqUKmjC7HmmCm4nV6Kz+EOZUhCiauYlFC+44PVgt3YrfwVqKn60NNVUn6PWJs5eUnI2fPKRGm87+Y3DEXLmWrK2JVYsf6e/MGVcGEEqT9I4XcEEEI3WFu1JMzwxR6n43mLXRgWwbocKfnAj4X3flrZFKuGLwzIxEhfH+jB2kMR0dg7Dauzc9rusvgcdU/PcldkYLDcY2BOs1e2AWhkoL7YZIM3poG+wWNbt5PExWjBojmxyclMQely2nl5KojqR06TM8nYY8mUE3w8FWMiaKVbdYK4SEihMS8EcaXb9wfLwBeMDu2U9NyNE/3b/Obw0PpW8Zks+UTNPzGVlcXiLK0A3A9aQfWXgF5pEFSviy3heMzFrmFhwXc/SLb2R7q4yQB8nzmllU2DZUqyMEt/SGzZzyh5y+pDEvPDNbuDpSHMZycI9WgZRs+W5PXyTjhN27Kc/q2qvblX2JfQ3VX6iqd3sYZ+wDg1MTIMhqYHKUB/X/h2MeyPcLFn1V3YTPlFZ0qDB/hj/ErQyujleLC19ikAV/HRmgSM7RHopvQlgrDlkoO4zgVosb0l3vBzNPVneVjpyC73AT19LL3jufY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34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33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iWcfk2RmY+GE6Q6T90sFUaYhHdubK/b9WYMbiqTQFZNRdTaHJ1Coz+gznC5J29/l+uni9WCTqRMIgVGBy5FSCqTCP+Vdrf4pg20L7fH6DBP39cuwc1TqbCtOUyYippg8VnTZivfvTVPnF8/A1Q6H2fe+gcVPbpGLh8+GMO/QJcU9tP3ZRjWiig0ZcFjeZkEHqnICxaxLVKZ6BMj6fhx/RSukF0wokSXIWdsI3PKqwUjfz0tCRphXfpYliRjXVFL0UTi+iA5ZjoMxBghTKQ/JrksBnd1XBJ/YwkvV+ansm1oGVyIk4QMI9BKrx6WwitQ6k03tHOWU20qfcFUj9YqpFsV30I9H0LMCe3W+hPbVP/SFMmRbm19yehQliv3JTkCKeuicTFtsKq+7YMevrsw6n/C+EkAoSMzLvqYJ0x0PwPkT3lqrqq+nLrXgYAidvBUj0v02AiKy93DF7Ag/0YkE3JJyYqZbAcbin1sDI/9zCY/8OfU+cWOfI2dr6ewrNXqfO9rcOYeZJC4mGe8jPnvDPMD4JprPGzScPsnTkJgA0OB8y6rs9AUIjWIqulSV0udJNWefN3+QXRcIxto0EntOywYFbIZMzgdIcgcvB8kVNsbF+GU6/IrI7rJ/nykR4C2bWuUFtv/ePnGSqs5VNd/Ku12ZaoBTLBZbWen9zqHQmzrWwubQJlXo3iYaqnhUv8Sddy6Bkjsasxy2kWFRwEuewqFxckkQjwRpL8SOzs+xX/HDwnTB/WHAAKqwkeT1gbTxT73YNAvHDEeOscaMk4QzYShwN4Ig+O9DWQkLsZQ/NflFLmUBDnI/14Y0fSSkoS1LuEnWBEjkt4CS1cVzL4Ojg0k8lRgr6b77/90ytPa0rTBHLMppMIeSQEYx+K36PM3zW+aWLaRlOPBb3FGjSH6veYfTUgMluGG+qdKDw+fL5LQ3tOeNOGEhP4KQlKO0VGwyZJoYgK4do6IesTIMnCvJIO67PutzJwJ2GjPs3m5sXdcSiAAvpRYiSRMyDdFDbw0UwqQpj7biVmEjwbvbvTJQkqRsq2rOh4a518kQiTo90FeNt6Gxw3gK3JHhFCPsw34wRJjrLAaREYe7f+5moiIexHk4Bwz7vNOLKJlHSjbADqFCd0yyOqt8gB5YSztqccgR1mvTrq/MqNlxr0Ldv/uziEsShdM6O911gm4B79VXdXO3phz7SaNLcYn5aURj/35//91o5i+RHjHKxN9yMtHr06gJBD+AS8EY9ZHD3qgw1Wgk5/P+FmmIULHD/zUFoxQjgugYxbSAFZ+U/oDGd9/p0xy6iFiBA96iIQ8XokcfPzWI3MKv9VyjkWBPmkupNDyK5Q40atYYujwCC4RRd+d5ofmlOgJvj09LCuITYZU50VOxClvHzFXNXuRmAC2fTEl1I+EVUjsICOcMqTRIwwdycNrGMT5D6IFCv61g4cLKr0eC+VLY91r3DVsiXA10lBjxNXf32GTiRjxDfXYpyo+7mdjRQQR3FDRmMyRG4/N4SJzvFRzl8+0p2UjXcR+3Vylo9oyg9hs8DYbKbRrsfixJa/dD3omRzpUVwbMz4gMtdTrmYw7LbeC+vJi8f1AyuQiNL7OlHsdtEjQqczkimZI1tV+siva83e5CgPQ+gVkiMOJrnjMYueKOvJqBKc5E+AaKDNohum1dCeZM+WCShaX1ou3wxrYaDkk/Oq1Ppw6S4PiMJW7JlMDMEXsjSCnEw9aE47zbyAE6f+28FWkLceFdLJ4G4r1M5lEpSXR1e+RuELr0Di9Z7Pu3QW8V+BCnAH+RNNqkok4Q7zd4fr1nfqwT+tpn5WFTBI2pmNxbPddZu8UEQTdIJWuUieATrWzR3TYAjLD8xRDSlRRvoAoFqNXpxs6oL4OF6n7ZkEmK2qY18slC8M7lOo6f2WhTA5niFB+4eC7b6RfnsSk1k2AG39nCHL52r4wmkdT/pa5VwglIXfvMYICI9ThybIBZuJ/TLFvKmDX5YvYKIq0ePM7NvD/vEmB+d8mipvdHMEzUuAA5uujavXrQaIooP2Z8C6PqgotZG5r0ssR/mjcT5CkTvxN+0HPLEjwRMBZnukldflnMUJoVsKd8HdX8AIzBGBBQpW+WGFrF/rmLaUDc+ebjgApNZoHWE8f34f6RUWWP31VPlTuzexox/AU2gTsPpWfuPA0Icn9W9Mv291WAELlCENOXjDt5Su8M61/7AnHqgt14j3sKd1bkR7R83HPsZwhDC4PZDdTD42OFDh3UIrA37OfmDSl5DEeLRqJ/8lyLLuPwkpQsHBGleSFvUI9btCy1BKNvcEfhp1AV9CxQl01xOP4smrSG4aEdmpN2lWu9jvBkzJZJT2gy7GM3In1MElhQynojTY8Ci112A5PsLVRbD0L1QaqUsBHfBgzvfIxhB53UOF77YXvsynfjN7SOJ0g/ObQ24r+lA9Vif30q+J5Q/YM+7Xt4RAFrZEB2pqYQBEWf07Lyh/lA6KnxZ3KWrIDjnbmSduRnjhVuTPNevVtYQiiiemiYtuevTzIReDu7qmPTFyvR2yE5E71301GnFMRyCB7RtAFZtcQMDxt3Q4bw5F0Q3Va8OvO03RhoZxGM3u7wC19rRr1ldKhSxV6XreRqLVuP92ZiaVe/qgCo75/apDTLsEJeHA2Gbf3FkE0hkbpFIZ39+iIJM3nybGFomkp+OYDlL5dan8FqkTt2i9tcTxQXBVrRVlK50Av0dTFDOBTwiwTztO8i5tC2XR6dSuxOKQWTjIxoiDvaepiIp3AlDzjVhVGarzo29PHap+NLTSj/zR/IKK+f4qBMtUqJHW+4Ojuq4sTgR4kcCT4qKy8bTVhQU1l2tavwfno/HRekhet2yPPBwh0Mu5dtsn5xgUA5bx1zRJ2nFWeA/uHzF43cqBIOicPc6L+6x+4Da1s4g8qWewm8n2SeaY0Y9ObeOD78H/Kyh24LochXqqtSscrtWmnUtHNXL7UZmXjLqLJSzMg6HP7oy+f1I078SoPfiR8hkz9omnNxGPtQFq6JTCyXWpG1alQ7GkzcuMnDbufZl0W0DI8Dlmq1WpFBh23e+WcnjMYV4R7uv8gpGywrr8lXvGB7uMmh8REUeeU4nk8Q4VO91yJxp+yszlxGZKokeZE54HxaqnBw8eDucTpB1fo492oJ1TV9Srd9CvLH1tIinDO99Br77gE9UzYmFThUocIextrRSqpN4YDffxzSFPg8ltGwBkcXy759d7BKrmIJwtBXRHpGoOTsIQclh3A8Vm6X9LBSDIpP43yWMAM3lWBtIDNYaGu9LWQ3swEmkHZKJEd2w/C0WLqv4AbVwOFChG4LqqBsrsr+543ln3mP/WbeXZ5ycvXR0NKU0WQWuIMNVf5UA5SG9188T81MlI9aWRqF9JbyD2QmRj1d2K0rHUHIbtTMYNFqOI0i/J/w/RIUAT/UbONYDs78Jwop33B4yxuNdLX1Nt/oEqCDH/mkl/oWMKubCpf0+h5y1hCpdqCC65tyjF2x1QT4Gonv40YIPlAaPk2k1ygQe5lMN7jyPgtNJFLB3eeV13vKH0ziSDoV8JI5NFriAOBkTPosY3KjwdVwoBhLsdjlLHHniDUG6DHZ82tpcP/cfTktF8WDphP68heJPJi4q7Jsrtc+B4i5vmtiD/23trx8OuasyuwETI9/GxKgQOF0FE6g5kPcngMQZvztTtarUODpL36M0vgChVe2HE1COCOC0enPnheuXyCdoBPQh3n9rC0qyQzEO2hvzW51+xTggxzM1onM5our7AxujahflGBOA53xxbvrY3lCIfwRk1MPrblTu+L3H2r3KoH55voWVvtLJ6ZkMVCFVY21JHaDrifpvagBRgraVR9Pp6Z/l/3hjpVWpKcsSkmV45eW/QbfV9Eb7PakayhwUR/fAOsYfLooiNPanPzXFJWqZWOdUbyQJm8+w4l9Wv+2lOPP4JRotRWjUiM8gdT72/HiCY9whAGsSOAe/TqaQadpM4lJGmQ+oivc5vckqWKvauQQMmjhtN4UWJC/hOOQxdqH+Agl072Q9OgggifkDqh4p18xnnzrqLnDn1fxYTlQNorZ2EdkquAlHO60bBbsffXZZjhpbnqoNjnrXrnIjME0GAcItfv8iQUYRzHUNsp7ipGiNBqBSiz0xSRN/sM8bHhDPT4p3vufJZ0vbCn5ljZsTrjEkDsN2wjkWtxLWVd1v95AkYLUZwzyD4D1N8y9VV3p3EA1tC+nJJV4ltvVFOipz6dhPhl71u54yOGELLItg3XcCHitRH+cC9jOs72bg+NLXjhjJ7XIcIV1JHWf+oZxAPYAMQSBplfwWYG0RTr1p8m/RRmlaBafCxsompuEzJdFNVFFV3SnwG2lCOskbRUaO6fC8SBgdBQE90yKRPiTpnMp5Os2QL42Ovfl1guEdn+6FuRG33E8z4pg16KCRud1uWvXveLKGXJQI6G4PRgFCXfEWhLl19AuWtLQHaftKtDxnFjoERbl48+nA705JW/jeQmw3fLBVCelTyXy6elPn/E+Y97DQk80FHjUKNgHp8orPgqDXClzPE4yS/tgNdbjhCRLNYNLf12UZrDAp0LsPb9MtTMhgfjaXa4sYd/EqW954Viii+ki3LmetlyHYAHv97DooGdiboTePt6SaEEWNDrLpjyJE68OyLtRGYSpifndA3rn9nzTJFu+i9vWzRKGMjV/QtBLb2lHf/qezgXWdONE+BYEMk0spmQrO9nA6oraSSWulDP7gs1PtwGDi6LW4r0nk6jgTFcPPjJmKd4BpiAZj1ysEk0hG9iDOc2sPDMist7+jIZFIlukgHmTGGHJAwkPt6NsUh1R1/AILZkKTGRW0zlDB7ZtyLA804pvWyJmrftyIJfgS24nvqGHcB2lb/+BEJ1ChqY5DTw2tliCJj9GH1GOgYMvkx44mmf2974pitVaBcoo5QbzIO/Re1lT9D7vYEUR6huUooF2DrhCpDXeQPOFI6sojjgNP5Nj8i0IjL0uwpEKlCOPyg0nh4zhj4kAzS16+SXCQ42bvFNoTrRCgeSNLmDPjsLwR4/uoPEisB9Qpc3EycXx7jSKVlcM+eIZaBuHxw7rPavZ7q4YJyNzc5TtAvNcqlAeazlgxIGXWQqIE8GD7GLYK+CFsBg041r/pT2/xkkf0UgheLXfzoYa4PhByEqmQ/Nq77rEbxShklXElfpe2fxRj2LYHEEgjX0K9OQtCA4duloRQGFH35Fw6SzlfsgYvpotbH7T86iBVHyd9wUTvcCeoeqsBqhhi3oW7XIh2BPukOUDCnKkCS3LwkN4BrKck8F+dazGoci5pxI6F4dUcpU32udp3waB3fb6j5dlfqtfRFyB8bBrCx7lsR/6bMjBT+ghP1WdUUxY8kQ2IzVqxEZh5578xOulgMzfz7y+FV9+HLtOEDzJE5BLBzV4O5SnHK8ZyxljeCu8Kj6LqUM1xuT3gRYxLnJ0wnMwS+0cgRVuyrwKvB7lCf+eBa0KPnPDz66rLYMLiXG66w1xfOtQrxwv0kpudEUbiByD3wdV3NZkacneVYzhI8MCzj7WPpU4JMNLxhyRGr5Yl9aQgKILftBJhCDPqxr+QVRoaKKB4O+xOt0cW4Z4gDfnzcQU6GmL3GU3CtcABSGkOiNw/1bFDiXGYUaokRtKllPvJA7vB9vfAwzs0eUXdqZujVMgjX7BlnT6MLDfkxg9CVXqU0/4UgBCELxN4XPdHO8PiKUu9JEQEZ8wxOsQXl2PdE++NiammVGgD9LPWT+Pswd/vYSjCiKGaFhJX55WIPvs1otimiHxihZSjBn369iNjDRkWghp4UoSM1DPKXOPrVV7AtDFAXt4QJmC64HkmlwSK/FyZGDC//5ZVCRqnlrkYsAsW+M5H6OwJ+caIb61ZgtNGAV3m44KI4IcoTIescRAz+6p2AWUWX09Yf7LxOSHTMAN5nCgR+lUqVAaOiMdSh84FOaRNfjzCoiEoofcIxNUz+tzWizmaIaXaoY5Qlw1/MmxO3rBeaktV+pE6xMlY+XiuFx+NHnrNRui8MoLm4M6VIwsotOTSjbVIHlvgvTp/PfA0F8/tjWFdEP67HjBEeeaDHlngtgmE8Si43CjQXSUJGouOaSsbRzpnUNTNcrGfc3UhdO3D0vVmcENO+Rh60urah6KuOH6fQ5d97zgWdlDwRIzGRWRmPTrdZBoeJuQAoygTB702f88NStMUpN8uPBok+5hXJYzA4DqXSKSQBW1pgacM1z6BjSFthPWFOg67qfSF75c23zZmQ4whnORsCVvbepynISkBBQ0VbBlh0NEHv3Jh4GJyseDbAU68NliBAB5cJAOuBIsLvKDZp9GeHvvrtlWOh/SJzU9P+XzNQ4CoNdSbWZqddCE5hd46EqkETo5CmFsIQ/tezTT1vXA1aoKRR6Pk2zJ1F/8Jb2Ij8fBSqjmkIHCcsgmLYhKaJ6cc2VRquuSsjnymUXEARE4HiBFzPh/PH9WxBm3JFTrkqM2R1PCJ9/s57TUY+mZVMRAvadN12O2GNNveCVk4lxz+oPjIiQTsNoapVMTFsD6CxPKFyPbO+yMZ+XOwPoadFJiMJfQzhdNgSdbAFJDowUOJpR4pRPpgDa9gCtlRYVF2UEvDA9h/7cXvgaZDuynJLDThnR4jsnC0DARmB0K/tYPyq6l8EvPK0fcK3NrHdZI+DpXqrumAoQ40EmbX8qQi2vFb7B57trHn5N2agCEidfj7/P0GAyifvlQr8IiNdCRfc05PgkVgiqQdTtqlB7oV+1JOqEN+EzJUtzsyWWLdZW90WduZA/I6cbZGIZYxsYp1C3BfpEGGdBzRVJ6c5gnSBGP1OGFcP2WopS+5MEdQ7ZcFpNlQRwEdWAdKoQm4Vf5rj9h01pvtFX1FPie2aIa9fXiqVAZNEoac5qxG8lmO08wATlD1yOZNxy3ZedcHyeJgyu196uQ6oweAi9/dsNjpnOGveEMlQHe3OGSswAnzmad30JoMmNXXPgw6NqQoc8TIjeCaFJBFHtev9f1qzpZGvlEPCn1+e4pBan/1ClBoOVDClZaZEL4/uBrYLN2OUGQ6bbLiR4Vh+LE2Y5/6LCUeOkgYBm+akEuYNnGHvh8R1sK78UkdbTFL3qf5Dsylis/NDrf//Bw75Be4258ljziTYLh5NkCd1Lt/7NgKm6gx3+rDLdVzU3cGoYoAJH3w/eUpPuWTUenc+8WUqgLq7X6+xzBzIVTL0xdzoK2V2U9WeyDB4TyNGQsBoxayr0xX938HVEGDbZfn3W+7KauoHt62rQ5pqMwpuKnptYildwNicpiltwyMnXw8AmT7byczgTwAZBzt6Va/NRll5h4nzHy/d3mpAk5FEk++N4JHZhD6+wTeZZTrs5hnwXxAmSndAXsoSAdDD18T7ccXBkZPFzVX6AMcyMM+iKvAiMf9VmslgHcAo8cFnhx08uaFqnkCorOcauoyLUd71z01Tz23xr9BcA3hBpAaCxN7ADF3fQRDuHa9u9vhoh5eXOMX+HV0urEVYArKrZSMbTypAhF5lb0mJvWEFtXJb5KZIuVYMkD8x1tZ2TgpcCJy7peEMowV8IAWlEnsGnxThSOKa3z95M8H8InbaJVit3p0hKoRVQlaE6JGLa4a0lV/vj7USV67P6UwIeW9oSYXqcsQiURAKrO4oupv2QBppkUykIt1VM0j24B9dr1kd6iqq5lMT/Vfut2w/RwhnCuo5xhZM3KpreKFMPUpFAP3rp2RKEz08BD0i5Zafi3yZf5zhFZtD2NS0qyXKC5S0+CHfGhE3ElH7rBQDVx/j95nDPVsPPMZoML6i0eSOtp0wozrzBMayEIwDnSGRDzstiIZ38ax1qGO5BKXa2ONuC3RsuLySUaJSANl5rDF5qwf9twQw5L/GZzghahM2V42f+Q2egE2O5mm3nvkTxhkc7SlQwDlyHddF+ctMjKCNCYPPYGFlTlWt0cBnHn4lMcabzJo1leLc0GLUqEbE+sK1DMnK3J1BJ5bYDgKzshxdGADOvsLCZ28GqYfvfHP/YwSoo71M6EjrrlUsyurRNAzLOOvw20y+FN6ELcJvFOzsegtMgx9i+gvNP060TDwjSkelSQBxgtIS44SshFQQElZkptG2bNekCqgYNlreJ/bEK3d6J/5u3XxBBbnWIJZoFOMKsGGjRlJ05vVETwvS1ND8ZlGrIVo2Df7pIROYphrx7+ZqC7gazvaKGEw9+EuXnJ4IW5irMdRVR8YGs56oOWzgaVZ7e4JvHJ7RZGfEJEW00D4SPE54hHhJwnTGa51q5ma2rQIabQf86wdhkEpMrSCVsI7P7BgE4F46tbdb8vy9d5ytCcCmv/OBcnxqtkVIdt8a6eaILQQzwxIfgv6PiHQjP9usokKq5DPq0emgyM4KvuGp3wd0kgk+XlL+/tUX22pLY8P4kAJpk2+lDFs1ahPG+CiofqKC8VkT6RTPvjHDGOlMTt81Km2hnqoKDprnEMs4Hg43rk6hyPfznJ5ZlmHMishhJZ+wpOdQNDAleqsToLgxu6Ssf1meVlLgGmsNk+xa1tXo0Kj0/2C3b/3FZnQh4O/hyDDLKVwtORSrQxJ0sGwY1wG5CM7tu39VuqL2RoZ6oa2gqb8MEsmRjXwSTpXPfYt6Jw061G2KuwXOFcSw8VY4TtJTkRazZhNSs51wrPZiJJFog1drMrFNyq9PCMdPkOUTirFrKQiNj1i7cPCJqlmFQrbuQPpYal2Rrxgmptwhb+yEAyN93Jx+8XzsqL0cb3xPvinguAmOqM0+XVgDqqikFBHH0V52eJjzkB1FUug9fEOgcZJV7qc0A97BvsLuMNbGpn8liISxC4uzoPrFaaJgLFB1IPBc6Oxyhwd2vYzwYmgD8dQ9Fl7vzu/zJv6MX/hkB6MV2srpHKvHzRQt6Z+HDc8v4ZlQEaPVbiMh+Jll357iAHaEsIQK/2YqwgZq0QfUIoimm6P5fYW8tn2MmeECbGt5hbM0WfMKatGkUL+TzqLmf926iVecEJedC12s8B+viD3ls644H0sBCsge5e++5By9EkBorLOCq3NBiaQ3qlnTdMITs7fHDW5q5T0oCh4Ie1asn02/ACgwV6PtITEMfmNJhNRrxrEYyXIFWHbY3fYNRfLS6krzghnpT4hjXnTsNeErB1R7VjQJLclVpX5dyPNfjZGZ4wBX2cLjLIdUZ171lQVDfxOHzjlNSqKcQVto2p/w3bKVjLRj+Nvjke3LwlOjgFQW3OKDQCxr16PI1Y/2Nx2svFqDmO7wL7g81Hk9RDwzKCs0nKjf836VNCR2cu0w7DQT/InjSzoAzKlYLPi+gvUiv9kpQnzXmk/JnvNtW3eABYgmOTwaK5i911Q8NB9xKKvbGywsxBq/lgY+WK9K+L3f4lDpRs8AFuIUq9yPe1pRLH/Bxzllqd2YFsDadJnzxCS+BSJSDCkCKujHKFzq85aEdot8zC1W1stoKwuaWezBIL5F07Q9hPW055rgoSDfjkAmthnb8M1OB+4qcylmG6hG+XshnasQu4+NdNLd2MTBtRqdG8NXi43DbErLF6tw7vW+Dw61d9CzV8zvdn8idXKMSDdFrh0JK/3q8WmSOr7VG/wRXq74pjKD2rZIP0OzxhPxBXaGHb4KiJJ+JjrmyTddEYNy3XvUGJhpmWIpeZZBL5hg5/qfSs6cArn4anUXFcG7xJLCIpYjUCrUknAtqhPzU7ZLnSg5q0EK6ft9MxuqO35B9S2yuwT0Ul6bmEQ9WzE/+7CJSO6HecYc4WljJQ3lZqyKMWhvxD67/AKzESS8eM22ui7UxetK1q5ILUiNl3anu0ltkjPgxlNjJw6YDVb4pgxTXpi+hMsUYeTWkbJ/odTkBb26T0WcZ5KohlfGrmWf6OChqJ3s9OYrgqg/yXFq0id8I4MaA5emEGM2K1VRyP9Jom2YwBjofXCX1u+5EmSNGSQOHzF32+sKjfKsgbD7BXofbcHWQM0CPSoj/ycX/Y+LkafHHDSl+nECO4rneoWIKAXngolnDTbHTu/PtoBOUQGEOmNJQSRWEYub0AJ8HpBp5z6REAK/LfsncsnC9W+bqO86QyCFFy+RM2rTDR2bayX4MhBZVKgtwRqFUjE4xqjz0xEXUg5Iahfd21hi1kw2F+BfY3/gKr8WODjGKfWDe8NzgFQCVUVtjYeOATgL/Y7VPzX20qGLSXyxm1KHsWkiIvS8WqL4KxoARmbi2MPXqzrf193qxxEhZM7rZqWhgDDI655LM+PE36mcGC4cBrW4o16wUJVrf+YtQJP+A+xp2aazdlmj01wITrpFLYPkUZopdG+dm44HObpX0Mc6De+pN9KVn1IcuB+Lt5OcJKPcCnIFZSaogr92pfU75yRwosmNgLzyKX/3SlrYcE/bfwq5xbhS0wMXXb90Ndlyq6k9w8zoEan+yi2oqbxWNuasHht2oJBcuGlTgqVRQhiJWNqIT9XuVEpxSp5tnPsizmIb7Ywp0amQ/4wihxuQ3y2uMlCauP865FAprhxvLhxNoeF0V/aEdN54RW/G75wPsSRY2hN3uoET0wewVD30Oft+rtSAtDcGHuLNYEvRuA4vx1WcaeMcQlGA1J0AGDjGxB2cUC9O1Sphol3kAMgZtQORJCk18IGxgqEZ1TaKZ5q1YNqCtWhvd9kd8dfh7MoyeU2vYR1i0PCV7jHK8dKJ6hQud6qgsd91pSz6YTJ4l+RNOMeRIks2qw33hgkpY99ACzNHbm4DAUxuF2k/Yjzy+TrKHYQGPPzZj+eR5XMaco9vmkwq3Ja4p/14s9ITzP4dBrDGPkSrQ3QLYu0r+09A7oL6d46nq6/2kYNirg3G5cYsibYoLjSmjFHCCyLIdyTcun7olQ+CtpuyKaB6nc5ztVFeh6f/jYPokEc5Ii7RkJ6BT3JM8MPB3AaMMtKyFbHWKdGEw+Wk4zXowipjTRe8hX8Veh+ciTD8Wldhr65Y4XbKkkY6VdLNYocPd5vxZth8GVOm/HCln1aaSuB9i0OMc8F1jQJ+ABh82Uksi8z7uGzTih89lHW9XYqM9ehZby5YByyGHYFXkuBLHYXDbJrNz3sDWPGpuYrZu1V3NdBagYJqjEmgbAy9sr6UuzRP0W8qiQXUUZ++92kMMslGZXIrv+pogkiWHD05rSnbC3/+tlaAtV9QGHdjGcJqZNH45Q1jbh5HnzyxwRO2gwn0pfKigCAeJPMj5gGgqIJhlkSAw7fI5SW4aGKn04h+ClwxyvVC2ZbDFd9vKeJlKXpg7xUDIeomkh0vz03JWvCMufx0x5ISpKS0nyI5QMoffUbxJ1D1Z7AYAWi5160yNMgGqxzQbMrCcuGTXg+YhdLRIGSjN5MHo9NnA+cbDNYlAj2jHGilzKdVTrBC1aV6jwhJQ+xgsmTqzYrJHtVr9ZoR/rbVUarn6VKd833EntZcVa82oYhp1keAhmvcrdsoWEYrCqMnvdJuCvFauSGl1c0FE5JahGq4gnr7rKllD3lkt8fI5TM6e3wMl30XZ6Z48m/lXHgdYA+mQQl/BYI5voBQOsucva9OLZ6iUnUoKUXTnQIHod5Ms6kexRN/QJkbk3NrCBSNCOKbIuOtIxv+Xj5fDr1/vS+O6QpJX/nD3p6j4Ev+mka16Fy66FHp1uIVNcXaXuYWa4zZ37FVX1WQkgPoxDCnRtv1vhLOC13Woe6N3f/1g2BbTYEtxsdNr6u1nxgkecfqffvid2I27sv62zH1OMUNZkMeFBwbrtWvHVsq7wt2AKZoa6EzccLngtPQzhcSa40G4d3m/ST2liJdj7613MVdqGvn1HEKqTvlwc2slbV07pw/OygsZ6RtIAfvLCqrBfeHd47WKfxLpWdvo4DV2eOKrQDNcQRhbvmV6sP7Wu7sK2B1IEE824EtzPkvUggufGurwTNjns459c1sbeESECklVsFVyvZudxvf4/fXHR8c9f4fg2rMH/fNkFgwlpcFzyJzZyHwLQWav6i428arkcqImlOy8J3jfkxjDX3z7IOquoJAl0tkdCc/XrodGTpApH/qrCdPNlJ5nJ7TAySexcTh2B4gZcBNXS+EJZTjVDNVHD9ty+pRIS/X8s/fwuVKVPQWPlULvMCgCOuf5wyYrcMW+LG/RqesxclMCtKhKBDtcYLmmnznn5pGF/eiBGIupeaZmNX23Lq9rWSfvrB24cw6XJMrXH8F85gWdkXLVooCLL1cYegw14zHV7VFgX25zQsZgv/zmUMzKwEs2Gulvvmkb5P/IogdLK/Mq+w+M/IsI7EOVMyxmk3NocT6H9VpuwQNHAc1S0bJTBuVl2PASGJdroPq9DTf1bl8XYGms7rX9tAEc/Pihp3WhZ2nNMae2lagrWlHBdCrcThkkUpfW7qKJN5xyf7CQTSa7LHfHcokmczT9rT3f5sD34SfBxUq4DkXwOKX/s24f+BLe42Aih3EwD0cioP73rYLs8VnUUeoqNgN7d4LAraCtT7fMbCRw0i9DEkANy/xYuWGhDwSWdNpWJSAx69BSjfC1q2V3alOvU/iUUEPXGw43NHVPztURGUcmYkquENeN5yQlFJQd3CUPS/PbnHb/SW2v2JzAeDIpgriFk26ndhZV5kvaQbLqQJLXQL3Bh1jZsVtr7gZoNcXtqBYPeVtSzGOn9qm3arwwKeTRzLPSHNZGjBpB/IsTH7plBHqO9bSNWXPMnLcLMlzkm4wAn2gblDTRYr6n0CtHO7LZ2G3cQQ4y0ZgVkFpXhsBBHmywOl4dvJZuWY7rfJqc/StHK00BIrHFIjLsMdMhCpTy2dLTlpG7PdOjOpiNbAKTXEA5dJJOw8tHc49j44OGDXM8ZCxRIx1y24zot2OqIGkD0ZVqupAtA2jF5HBH7SN7VSRHT7V6M5yVB/CULCu1wjls+y7ei9Z5u5j8Rh06rvA0Kjbeto4T3tuM7PAU4Tt25GcIZ0lECmoMIXU5vcWdCQGuh3+/bEa7NNnNDZhebaD6U5EKXem7TSQ7ybCmO6X73wr4A0KMgYGnquilzji2cVDOTmfyO/gfOCGdYGOvitUebwyyrAbPCl62YrFTmEAjD3TPLS5+jR/5eAYhSt0uoi3LKzVMeAvcbXbQ1SsRh/p4XtFUY0Qx36e7oFthwjnqXzFHG+o/VaO14kJCUPWlWqsAoq4/WbplM+JxEeRF7ZKFCdwJAipjup+C4KnshjJNY1sxKNHYb3h5Mr0AfGQwU4G2bkdr3rvHLcb+/Jo9p8b5f+UyWnDWpdDQG2yUdmYizVYMJJybUAdVTw0zy7tCRSV384AGUlEUZoGnVWe39jlniV/abPYBmTgC5nDVRGjJWRcbCiABfV5kWjaPPTM36JSLEzwknzbxBqL0gwwbR2ngtPulwI2YT/U4bYvMbWK+oRNtc3uabt5iqfYZEtNjSMEmbCHLjRchUxJkvAWW+sU2P+CpND1dWAb43w5iaYZ/79x8AH/xvzHahfPb6MK9SexxnAaGAq6+v6sx9n08zFep/qUcamAca/drs+q9eGkjJ883dsU0naPt5fs6loRFL7IanQqt9uC0N4DAkUCX5MnRPBhrej6c5AJOTGjR66G4+/qK8H0YyLh+J0PLBOm4zWxWQx6rNcxGcJyfEp8oCuXwztHbkqckpFdnDRsIFS9fVCxXs/VcMwpIc7R4nfpc+C6TvfjqtaOKVPPzaz7aIcjCFGROmcNlFt0tXimtySWrx7es8OtQXLzFSJzNsN0kNCvFcViv6Qqvo30LkTo+k1s92YrM5/hNCAKKat49w5HmmAa4aMQvxJepM8qXqV2MGLZlBmwaHu9S4gF71tq8WMG9XlDKpfvkItouU7NaWPLqBgdrdfoHQbqwk/9gfXaDiznKYSzDe9u8vpmnWGf4VtH1UD52cCMwOkKefgE6B5wQ8Egqje9SHZUe8rLZ3DQpmD83RyQzkHp9uVifkwvwN/yJeDxBt4XHGhO2lA2Ai7eNWw+y7yn6bKcwE6p5Xm6KhQe56SzdWQsU4DRApEWlhTglpvFKWO3Diz+Ht2T1WCm13u1pSfNJQBaoc+XKrHjlAh0SfJi/IgaAHKncu8Nf93UyIZxuLtnecGdbaRqFdmikcpVO/++7aBeeC+Vl/2rE1EVRHbDqqMYpiLYmfN8/+hmOVZKeeARL7a1jkBjJtEXE21ytVh3VZOJ9Odqhpxt7io/Wv/ORXbMeAqpeMA1epLaG7o6iFXa5QzkrtV3kLd9m0RtxAzHbxQLJug2P2Rj3yT1//s25vdduzyjAPjtOufDzOS5qmDWxPiNGQM+LLUzLYXlZFj3Gpm3Vg55tp+//mlu03bg578XHKSUXF3mUYa6E4OwWrf4iRO3iitJSvZHjEBFSY/GhVOfcHMisdl8uRFyrupjgJG0cApKDsR+TnjLroOJKBISkNiWXuXlMTlkNYsds9muXFtA4YTdPF9HprCNg3OMqW4fwIZtE46xOp9PERxI3W7QYPqAjKtDtCg499f7SB9bbKZKBjTMkX+x/dB+M56dLuhNkTkiogxPrGhIUmVZ1CGCrPZ5TKcos06NNghLFpQ20NqS3eC/clXIRMapWXTO8B0TGkcY3hLDMJsCiVoN2Z4KlHmFX3H+nZxd3iTt8ppVgXdnST+fWQek3cFQX09uTZfBmPY+w5l/BdIlrczW4aT/9Q8c5mscKd0YieFigPzlVgd9Kx4l98eKI29upqVvUfEks2cpSiB8Y8/1HD0Be12VBwsPq1J1xBSB+OGXpvgvPzlVrmHfOC3gZgyv3VRYWJ3T+IIOWQhm49tpZgyL/mSSwjggOkNYBS8Cz3ZkQzQioGTs2yn8Szwva8FRenCOzx2GVR+/KAy1sw/1ThoIVBQCTLtOEWqlnQt9wGy2jlCOEvvtSTfLRpptx0YV9LPfLWNWlQ5cecPpNTq0xKNJQUiTJ9NduuMktBjPqodG4Kcr9dBCLSPsfDHNcQhv/yJLKVBOQRVPXjC5NjjGsG0xWbbCqAjOPQu131J1Fyyx2GS6bxFZhLB+ghvAGPRAbTtg7B6jrGt49LkIHBj+htfFupMOIEFbOxT6k66D+PfyDvenl+ntKGJu5pgt70VkPHLhvFsuyKvKDOb4lu+QEcyt/BthgKpkkw0w2YTNeanOtLgBDpCTHf06j7L2LXjd7G+GWgAJjAdesC+YbEWtEmp5O/Ny8Q32dLlFYdRhL+1SOxki/AZG8jQlLTaiDDQ4I/uFprgFrFBDCoN7Pwg1pdfrItv557Je+jwdH7Gm9Bbg6Pc2Z7ePxljjKSCxS+2lGrOpie4ZQLrcK/prtr93Qg7QyzX3Lhxabo1iSWBNM0K3lL9/OdjoHm1mT/2X1h1oL+GjMJ7rbiAFZEN/ySaFiN9hwzexiNseVFD4lb0Mg5WsE75TTsVqz0UPWATSfygbaL3MJoey8U1q+wXoGn3XD+gih7yK8tBeFh6BPv3LPXVqhPa+kVIkh2/JLjKdbex0t1+v8CAs2+93oxeT80vGyNrULBqx+Gj7VU1d8ij6Twg0acNWntgrBJ1R0FX59qJDfIhlmXUN2c0OSZnRZK/ChCG+z6B0zs/QgDp1E0fcWd4Ja7Fft23cKSzfU4yg+NmEdcg78a94YJVLbbJho1vHyfvVCV52FmOdk3s/OLgGOZ8Tm0cbI3cVqoxQaUYlTPVExBOO0CCa8TyInJsFebW/pm6iZwHsIRfMq3Dpc0mZjSW7zsWjts40nTNk8bE2c0+vtCuHM6BuwQeFxrRAjG1HKEdvFVFRCEczQJLF5u7clocKXTJmwIwgzLJ1YmKjxgpuYY9MHwCs3t6/RJC4Ch/mUlsonMvrFDLFYYdGePF5srPlAXYUNYNo5EPe4Co6/s+4a84k85gSwtYlrCASR9SDqYEupawC32jrmgltTJR2rZ5KaLI9MedEROtCd3NlCYBO1k7OEB9+Gq3wfqcRPuYyJ0pIPSbcZPSvIymG6GEkDTlZgh96Jt0/sHkmmCrkJucL5ARyqE4RKYg6RPFJCYd6SdrvDDFaITQioPo9OmWjVMwvubdi3kkFCVPCL/Abawl/0L+sIKahT3fh3T4vw9Plnpb9JO5Tu6C1Fhyvo+XVa8rVY7g7ICzL3hoV391/yjgTAE2Ug3699i4jTfPMFlJuGaLJ3qJO0SCYHkrab4oLOryPmoupaJOdP565U0ApGi53N4zncINd9UGYiZmelqNifCwy6hcmM0AgOzvwWdumRCJ7xJCoNaAGie2SM5EUnq80vKRgciSSQSC/k3RoU7WhGO7eO4NNBLsAG6BSU+F2qf2rjsi+Csx4yooTBx54Jx/CUYOZATaDNW2MBDZXUyl51OZNvdJyD1H4JjxyMqaivTNKmywT1wBtMCMsBTksSz8bmCI0eYsuCWJimJyowMMWDAiwSi1pIb5tKmaPAyuycdMHg4Njvh626EnwCOkyqToLEJBUjshKrHf0ahVMG9R3siijCNOsIE2EQpIpr2nChma9kFe2Xt6Sm9L1hCmXRykpucz2PKRLdEQ17ORYANsssZ+vrinhgamZVS9IeXrvDT9nX8i1XiIGpmiyODFAPTo1y+hgnqAjf26DEnzR+F9GgZIW48rPkBkNl6QrZnsGj/GrU/Z8IWdLq3wYVJ1dNXjiaTN4aL3qPSBhCXvxr9Zez309JrtrA+BknWcg8JMxUJLPCVBDh1vRZhjss9ezhgRqq2ldoMxO4MR8iLrtwdjJkel/zjKm/Ult5D8RjL7zXxGz55KzEhx7n/oSpY9nDgWXf+aUkVlEkbRvOW7hjjFORUlYT247XxJjnW3P66ZxqoDcnPWWxsDXFBJLfSjyFSC0eytf49P7a8KVwQSsRkRm50+FXKFXo3WFG8sWeKMxC3d+ZoaLZOIHgci11DC9qkBVn4ZafhjOh4mVWNaije+zt4s6yglHsU+YN60WedUchZkx+tA2jdPAyabhXAE9Z7JkzX0JIMIFz93XxHhibWigpKuvH22jnzkfczfoeli+cvIQGCc/T11KBbDr0lAKs9vNxgmSAn7VBXjYX7QlxfiaRTVbNnBKEx1QIHUFFruP9g3Qa+tXMBGS1kH+2npfkT4UxabfY0ektcpsoBPgjrTyOHUVFL1bHD4nxxfXsDQKGUUSfbyxvG3cJYnKIr+suGXi9n4naN0NdQJ42+66cNCkXS8M7nHALDK1AHezsQFx7mI0fG0ooLXueVdTcg2m+DYsYmx7vDUM9NJtuAQrJTiIYIhjvO/mwhXQBfpZbRF9MQgZQMgTiTWWTLtB6gEOGPJwwnP6VNke/9pr5N9VDv0RIRYyugInWf6pyyH02Yut6rDhnmInHiQbYd44YNOzMuH9We2Aytm2fgKsCq5liilPWEjI6Ti+kjFo73Uu7VntQGbKbGD2w9DyFN3SYzrJcSNYtIcjx+uMb9DG4ieC7QtWyNdQH8QTual61N51etfQwJiTrismBQJo/5ajW3jpsvA9uiO+TSJQQ6j72BQ+qgJ2swkRKxKnLhaez0DB77d2HDrMkKe2+rr26R8XyyeKV4i52w+/J54vXIDSOaDzGdlW5i9El/qvxrSyAY9gnwVBDLodU72BgPzmswe2XqhD0nvDG11UXmJ7qZ3zxkX/ikhlYLHKWPBVpY2S64DtYPYrIrBY5pFV1lXwituHtOT9tU++puLQadRx0M9O3mlBRUdfCURWXmQqT8MShDKyGTWiHk2/7dsTZA/IVpDXgJfOF2Js+NI0fBiONJ+6TmBQTrXAoIJEe7VHdmoIUFMm2N8EYQUzGHBkSxSso7Is2uSM+KbKGCmBzdQDcapDIuj0ms+NjkdZB+Qr/3MUyNHvNIQPppd3Jad8aiVY7CsynF62nDTR9oAsM3ZicsLs6e2m8Op7nGuetbMw2TiXV3GjtCztWkqnR8eGVGyEez9vI6Ex6XxQKAK0Nfp+y9xpskuPbOyi0L4nBFudmcpAmnWP1Ac3nXj/2DRLHUSOG2fAL0yttw2buSbGGOsz5yB9jO1mJVVw84CT3WqkkulrCW58HMd3KOJnEj3+/5uueIerHmHfwj9DpDBbCzbzmoQDPIEY93PtrCBmPLtRiI1HdMvf4Lfop4x+BlVwoFr7qgteCYJovz0Dieb/T509nPICaxknLwPbfQLAjY02CxuBFMSa4Xw/z2hmezAQFdoHGbbfrOcp4rJttUQ/cJBu2PMb6tYVs3FWkj3qb4kOIE9a25i0Ogd2eAsvN+TbV0q4iM69FSgrXWclFCBPDfflVtbwteotxR3RO6lKQdDgtff3uHenutQDPFd5HHESM+Y7EaWuLnPq/dBVcX3apD9eCLn5BX/E46+GhiLPg+Q5nicxLk4reDR4Cn1k6rFrkyeWmCpy3uzdQhLdlu+qq759Dy1151viC3OmY4KzAxmeNTfmaGHRa1nM4uB2plU2zDvOw5nnnnBWb8kuPQS8wdLZu1QUwYXJ9O6a51i1TXcaEgnUuo6T7fw4SbVdNACLk8ShBeEVy2TQ8pGc2KwIyRLecWRxtwnR6guJqN5EMv77OgiJgFE88ulTfNdJ8YbD62GcpE6Cuj58Jsc6CzSEJ++mYoyklpp8cCLaSSgMXFwlYhlHAPQMSk71zP1MqEExKh4tIFt+6/qDKidKjTyJ/Ivj3vpmpYTOjDszzwlkN9fqmSdbrb/GzkEVt4MODurksEBuOaBc/T9USKXJGgkRwcqi6s562B+Gzh0oFT/ZwIrPfs6jxEO7GxP00z2w4WCdadf0x0ZcBfjmvrkQWQO4DdxSv9GPTEg9uMbv0buJ7w6qMqMpnLehoyq48u1C4N6kSdpRIbpw8/viEQL7rOWmfrDvPi0DIDlf+IS9flbZCKNoWZb3vLjbZQ1noYwl0zelHcrq+IK9bVMffAj6CD3fDUOVNK0YztnXuQiSnQwmbFD0AjOJkv4LEAlbFPvYMHKkMM1JEM3UJeeOcWrs5OXgqyclTuW2V1pe11uuLAF29k5jiS5pBxAKi/aCGQ1AJiLq9xWBFhObW/oXwehXj7G4k3kj/lelZMJIa1246iX+DkqWZseXUyLSm4UmyiBrD4WeiiH8/liqj2Uir5sFImmlnQt5f4mG/sNHBsOBylg2xCxDDVOrLvAqiy6dWvQe37WIc1xjEhxAgPIJrBtl0LbbV07pBbMt4HMXiZIK4AgGpr/gz9nZ+To4j3xbQyuMLR6Lezg7S1HhJWKbSber1M8AG/jlZts4TQq9kBaAyBHRSPxGNbNqH4MmwG051FzBT6AokiUwP1SKR5wBKvJLawRuAK05LIkyDAgb5leTYhqkynl778UMCV3RyykwLIYjTYadwNY0z7iuysCJJpUn8sIsagGBOXQMeW6mXWn4Qba/FAroXCiGssIMGYx+Z2fgt6Xx7+ExoiZsqNRJjYzrBoJCtnjPoyzy3Lx7HpPqftk5ItInXh6Pf5msqzSqcKKuBHND5CuDQT527KPkqsEeAX7ZirHKIQmSoqKOEZRC4sFPvTEeo7If+oCTmHqtpigFrbC8K20yFmlXoo+KDvjmClgRb5uKY3HP3e2k+Q5RFc54cnNrKYM65aoWRGvPTOq8QfLsta5Bc7bMr2W+cju83UsPJxZP+hqh7Y5N+2Digd1sd7aMMWUsmUEBBwnx4eUP3YjquiHefbmzCCD4U0oy4KiBmgDf8utEiIsBsTdjBjZtep4bNYUK9lfpRY3gopgbmmyEXFgF0BF2mIUa3Rg9mE/w+JM2xUMZR4VwLPYii2Xg+6e9kII2Ri4aS9mnZRBsWj0wPrtfLCG6dYlgLSk3Yv4pTNuakmNXL1e6bJGXi8/URYXseKg71IXXevfbBlXsNo0rrlarMcMk6rofAhp8AN6tktOEluHon1JrCrsxrbTSWv77HNSN/SuV6YAhLGpnWyn6YDrrzfZYKA0JrQWSNnunUMuTBaBy9/8lCHZkB62QPL/d5botGv27nqAFdTs6oxcpmxTbWns1v9Ux5p75twJOmtVykUNBxHbq0dOYYG/3IKfd6N3CP0cFE5zH2c+qc9WtTMa0jl511BUwR1ZW6hp37opMza5VER/pHbhawZi5nP+T3IHupV6ZtB+cNA9cfDgd+8A6DFb3kerpnS/RzjDo+KLtnqyBwI35VrkUPqYu03/lnx40c8ZAJrgp6rNkc93Bijf4MRQCTHoR8dLftgBXyY3xJmCo/t9Fc+GJc3xhJNdgO4ZhMJ9wXJLNpRgHr6YtQrSIVIOCVFasC0vemm0GI4UA+Obb5yVr3MH5Mupu2dzaxP+XioRvPJrySoCFKwRtWSu+ZQPzoCucPjG/25HBcOKbsBebCP96bsmDXzzOGrd1ZdD4eq9co8nfB7vT8/BwLrqfDNNPH6WolwMFef42LpQTMqdRESqJ1A+hqnGPEm3Krxxb9b0CVXD1Y7oWs5ZV0qTsuEoQ7uG1RjRVj2hSXsLh5+u3pyUWtalzknOHD7s3XalnIgNXNLlynkIXjAXFBfCXJ3dHcXm26ajPTEgrsiNbvC3gVKTnwnWQXQn2O/ofTiAUe/aRkRLjS+NUzrxesmcDiRV/xdaOMzhIkxGz6m9D2yYlsl09PHW+RiAb7z6qGx618HS7ulOBhMy3R1CjlXaL/go+ibfUB+RaJuKB8XEWMVBn1NKAa9vIKNexWg/UaoARk1noisFnBd/hoYe2i5/kABt+Yv5cB+pDGSAE7m179DDNUgD2RLF7c8+xxI/VS9xxhTUEd/TDXLBDUa6Z8KZSG7tOjLe5PFQHcuPdaHrMMJSIAAJ1suRxR0xCxxwdsI4VJDcBZJwVRDiki5lfpIyrh5QiMwo/PGH9Hq5v2DiZ0JZvM38QNJJdfKFGWddnRH0xdv8xDRfHki2yiDIC/V09Mx5MXrX/bhPo2yb54ZtohIK2m0VD4spbzH8rkI6nJ6G0YJ7tQ5vDZElngAllfjWK1+mNV3McZY5kQ8Ox4+3LXe7T16bS7cSzutCBtXRouACHwpT0HuDj3b8YnHeUlg+RSdSk9l76dAaLsqXyfQAvUCpX6ybOeGhy/9KaBbzlvbSjwhy2XS4uhMQJA7qsxRNOgl5xSL+oGRIIH0Bf1poCfrDaEFn/0ADsMtmBwUA1oInOUKgU2ioeNmuLDrnVio3KCLA6QKXvfUN8Bg2kgFarroXfIhkFQShRyLlUAWRKGGxrExLNieTAUHgOdX1KqgH0VIYTbsrELIGrnwqLJPBW5jZHGSGSdyd7YL3ILlmyGGc55iF3gunyGYCA9DcHMVd8//Hei/JokQfJ/HCzEMnVUGHRv2l1kQQIdgtRW82i09970truAV5sUo+F9i5IiYpMY5zlXT0NSK5I0ERj2tgq+YRLqW6dHj1sAvW1ZuAFGB6s9iJHhgxayhMCeUSVO7xgNn1MeVT0m+3onzy6HoNsZoVx/d2DcVvYHsdDXaL0AiOde7qUvu2qzDS66iAOXrvj6r+oEYxn2TS/U8tzjEOE0MUq3rk6qAtiqgdV/T3VmyTVZkLm6ScizYnyf7xBAX10g9dkajtG5VxzL7LJcTXYewzPGgkVAWt6Ild1A6dXnitkoc9VLODtlnK7t61lfrTpc2Zz7VA+mioR+Z4jedhAQIj7nRnaON0v+a6CINhVxrsqQEhJCNoLKebxucn5G18khkQLCn1Yfynbhf51RgKFqaXAGTsUjkKXiBXn9R5ypSii4IA1MlzG76yFbhZzDZFXpM6xfSlzjstp5lYYGTzQG8StGsbV3wk7zZ55n0q42rHND/158m2xa5+1K0MJlDtLKAtZHxVM2JnnrFruifr2YJ327d/0V13Rq7enxoXEM3N00+0Wq50rvOF/wjb2o/dtLOHB/hNFX8R27bIOQjEUgskHhqspDWSvyYagNUMed0I7tmFAVyulwPeno727Cv0ewRvnZclzN9lz25lvnSGYROL6naM3NVjQikGzAY1DSh4C2kuDu30jmeyZvcj4GP0Wbz6YwvLF1eXkIqSocchdGvXAZWNJErJY3ripajvaQ5/rUwYUCUwGbjbIK41KiBK6AGns/z2PT0JOnWT0P9RCGNPa3bykcCxoHDfm3G++zhnlhaHryotl8CyZwLBUYQxeDcfWu6dFa62laQ683cKUIGuXNaVPVAkF0+Gel4u7r0F3+qwdA++fhxUxH3iM4uhJkq55a0EGyEhyw8/IaHXcVXjDdBY9hdHocjK7XCpyvTvWjvfHtBRnbXpOmR9dx7UTt4tc9Nf5tSDHkbnIhIwQcv9uCZciSxNX+OuzHAQt6rPWDT5ez9GNyj1rFr02vne5DZy+egv52HIDhqhnenv23slcgDaJlO0pMshtA2Wmqnhkwtl6HoKZmRCJQrCp807oGmkhI7z/GhjYpJB6jCYWNisQt5PaDZU28fkdzxrUvFy6IZA+CRMjHMKpPJKNqhNBkkJfC623pmPpm40UuBmaBXjeobJMb1iqc36qWKxGkQUQgHK3Dex6NR9opMqRbPZfrlGNnWXo2iqEs4dLE83ioWoqNRZarGwVZxHlwlBTbfPnRGL2e4q0T+B5IodJyqi6tnE5XliFl3aWpZv8qIU939cVpoLoqD43qklLkmobBf6cVxfE6rwHVL4I+8/WBVBJ8gmmQJ/QmD6JOI+sDoCFANihTm5UmAlYnK8hdQaHXaSACyn6UP9b+yLhB0zJrzsNG3Dly7osCfgpjIjLV4gWWx+qwmGLQvzZ0mXFRQGFZQxtVb5FAUBnZ4RA6mo62bqOsXO5mRngsN9cIRJDrCJ3rLp3uFyjAE5Z+7LrhmF6y1Z4a2JFc1HJS0hY+qKneHd01C8CY4k17eY7D06OQcIy5OPtrzJIaaOkMVs+y35sSL/MJNC9PNOOAJpYTEb0hvpQ/d1bCsH1C2BsVjpwVltY71ZNudgSnDZSD4Ls4YbYxn+BIq9mwNpVxoZoUQRwZpS3A2PKq62Din9nHEcettLw4n7dScayQZVEwqWBDEvWFbACW8sw6UH043J/eF5LCFQ6EcscVhPFqn0cheoPvI0HO/AiTdQ4b5/iLBtaD6SFSVty008Vtvh9TS8PjSivDQfLkFXFiWzoE8KozorfNNeOTIfl1LzHYWNCnBhL1MmqHxPQ2Y9XUB9Tod5a18/xGQ/PHFsEDgjft39qf+9kCKqBOqL+cn9NAdyJXpT9cP6e8bhM+gMEQtBaAW75ZNFZgGwY+5tLioD9oyMgctlaZs6f3gB3l+u+bN/W87Vlg7e3Jh2YFz8I1ThjXH60Y5yEi1mvrAVvxdPbAz4KGDpYK05XgFDxZ57oylXGGXxtLxCaYH9uqH9LDnG5pJSfjFv4qq5X8/uuy/49q6g7tGWD0Kg1eEBG9wAzzFzQY6FCdA85rQ05r+duQ27dbTtNuXaMhjRUn3b0GogcLpfneoUF76m/bfy33FYprG6tw2NRvwwAedpVbSAbExKQ/cJYPuGYToCsB4wD+8YvPeUJEvK/+P9vTcoKIVqrHcKVVd4zs8NkzgWAnQx1ijlWllZmtS69os69773LsQKbxFFJtgGCf383ldLeQhR6IJ4ncgI+6aUAQinyGyHZeRzeTh9GQkWGRjKn8cJstgKcriyYF9PohmXzPXRZGTMXhp6amiiLkJ2rmx9yHu+tt4hSMDACskQlDWQ6++WLOyolkekGrVMnvCIKMpxc123aQmJQ5mNDm2MnNNXA3M2TpIONz6mUNP+Tw+ofOaN+8LpKjNbVKs7cTWzNnlRtTSEPaiXMiw472aTf4nrAdFjvl0h82+wjj+HTWZQDo4dV7+ewaTAca3olnYJRu7xeH0ntpi5QEmn8TfmbWLYB0CMR6kxjMDJu6tJ4CvA8N6qpcA2EhacX3zyaHESqoVIclPwRTBwEhk0ae7pxJk5wc9rA7jtK18YDRbAGKqi7FTba9r7bl14iorZbo/QJlt/ZdtVM+8VUOBqdkZmGkIxFjOAH6vhvoS3UOOjSIIrYAfsX0dpGqKXTsFjtdgwN0EUxfdc94lUGuwgRzgqbgoZvmaNpQ+w2WaVO/CFXd8riI3nEPsE97MaJYA6HIDJNCiYvjnT8mI3mXigwpG5cC5TZlQD9faQ1xGPUoe8L0VRyj0M7jDRzKxZ3oSuyFyoQs+efSlehtU2/zGspHTig9oFCV+k5kAR5Ejl2lCePvnaoRxG6BWITbe5oIdiQNKk1FjJM8Br4I2HKMQpeN1Umzzjw3ZmXtkyq4ujckCDV+EfdUmgnjVgTdlTODj792Rp220Nw7hjS9gI41HE5ptXjc8ww7UyrSLnpQAFYgbSotr0cnPw+1ks2aj7HHCFs/rZD54NpHDBYyzJWGBskB4JOyqeCgqiyHB316LBMqxvhONI8rW+Ev3Z+z1isxzBxTxnTxekIJJEZk73JgrlAKRTdaLq8e+0a9fUQrYRNGhOkk/jCnHdmrtJPeEHGYhprrHiYJwQ5l/nvvinWp1N9ABvmiBcx+wg3MjhEXB8AaSPBPAntMcThrZu5mesjfd5qCwHMTYC34mDfCigjJWHEaLRNAwAZMt37EZ1rNWYO2MAZuxqmJbVk1b17ZoZZHgq7vDVMR1DtDT0+h3pkKsGI87ISZliWz666dfg/ewsZL2wYJN5rPTdl/wi1fqy9tYihqoAEgf84wegV8+gWDHFZuUnQgOA+E4oKIzNGytZV+3Ce1zm6ZD3KCmL60+3r6QS4DjEEtBTdWLSc8RUYuIPyJ4BY9G9fYxI5/ZhjaiJglIIpeJQgZzjmYxG7RgzGA2/WsNPo6f3LGSXyZL6HoeGkG6eYuoVug//W3gXvLeTEex/166xd5AAk1HfcYQJFyyGJak1EnDHxJVvtKbW2YteSB75oa9xwRircq3LEKD6iHVDeQKL/47Vqp3N5beJpmtIZTenEW9Caei2sF9TkV/CFOaU/Emzl8lcOqLMwummtc9hpHvgGAarmJD3DJEzqVCTDqKipTYYaCy1xjO58vT/DpVZbVvUSJ8FYOPaLwi7bQsaJKmGnFTT4J6l3yejwlQcftmn3c65Letbtlh5D27//Hp8O05DrV4GQwrgMJ5Tf0bcI8Z62NQRRiF9tT0OdgDd8RJEADA9vR/w2BV+1wtEu9ZRK0sKbE1wmaxYMxKvAqK7NF1cz/q/jVnLlJ1Li4BfRU+p6ECVxE3A+xPXkx7bKMSuPrQ6G8eLhr6lF2LAsvo3rfcs6z9AX6ywnG8DcrXXlBqvYgEOI8UXVmqGU9fQmj9M47RUsN4NtDGotWjXZF62hiMKAOkN70eOjwFRfovU/8NgEWcDyKKKWK64VGyCSJ1ydTPAks2uMDk4VfhNlAN3YvjqXm1iepiW1mudn6J2H0w7f7jeXgz104013XP2I1R/lfojLhzlGZwSF6DofOZOH95UW/+zf7u07cF+ZNS9xf2anBXI8KqGAAMqUUuvHd4i4YcHprf9Stngyr3WH//Qi/bOBeZ3LO3+6QqrT0Hv6V+40FYc7y7ApGsIDGfkfX87lnqidzeldUuGJu8e7yujTwmFdUBe76r+E1+clzM97g/5IP5MiwWE78VD6KynNEkvdjNOPG8IXIlIX8loyTUWNMUSwkS0ZKh04iyOfFbBnyGAKsQOgAT0u9kCFSdTZs27bY3OY9KbikrDkQWy4lmo8DVCdrhwj4jLn1gQagNfyK4uvtzM9gt8ixv7hMwjRqX/qU4pSUcWHBPehrOVmS+Sp/3wiioB+oisVnb3Yotgex1Kmj9j5VOn1kiplcVla42V5PBYV3Vqr/EN5VaHw6prUUNaiyhLxURYPVXN6wQvkc96bGRxrppqCP8vr9oMTQvX3MwOfeoCyQ4BtnzxUT3DaWaYydU1QxRTjgQ/S6ryq2wckgEFawJpqSq9jQT4smG/dKcjKnkoKIKJOTImYiCw+vAgQkuiq2VvEHMxZ/Rttki1L/XsC9r2Xa8axTus+gFlaEH6up3dAN/jggnkjovoukFmzpBY9KI7/mTdPD0aze5pRCqlvVbvkA9/9SW+Batn9Ob32IjzAbXqilOL8MPPCRGHK6oibLSXxA564hflA2cXpcvJ8FxwPX6T4bI3wrkP48qPBGL668gGBF/RNcXqLbxLPTnNHadEWS5iA1l2j96HoNs2UlJ6+rywx/Qe5VbNmbsFhzffYE1wRlKNmV0bcW+dicAHTcMEWtrzEhcUSZffsNbatoE+IRm1rixohvmztdyWbdAXm54cy6R4wKspvjWGuid7+xcFrBxlw6GT8EUzf0RATemfT/dbiacUlP+d1+3UEZpvzDuiT9l3gSHTnfvKmDH3FbT3l0hXR0gZ3FeJBed/InOgFU1H7uiNMpMULXZXVcXqQvtU2SedGe1TW8GUTKEqH3i1eGb9WysoYNZZP9013Y298uf//TpSqP2k7BtOdDOorkKHXqJv31anS9LpGX67OvE6euu/Y+EZi0ghbjCOs3iqiIXeEM1xBS9OPKvvfAkGA/+cen5jhF7S3ksPWtF6wqZEV7Pl2GvHk4WvfLG2jQ19F2ySugGYJ+xCWyq8fGtpL1fNthabJt+07JjejbftqCFWgB4VmeImbp545UkOn+rhxq16+RfiLl0iaYJOT4j0MaqipyU/lwsy/Lvf2THNc8cM8r/Xf3pQiCZmtakZpLDrMyGACMKld/vhtplbbhJYBqazB51H6MWtX9+rePk1BuUbA0JBbPlrFzy9v7lyE8HxMrmLtjLBcReNTMUtSJLeQAEixHRSaRCRnPomVFJ7wrdiqqMggiYPuHBxHaQji3njJqF3iBNwJvfo1BgtxksL9cDJSHuAcvsV81fGiaMxNoyec2GriV/kYcu8aVO7NuWhfu3fyprmAs5Vc6by8e2TqsMkkae7tjTAFRojjGDnHFfTR/7dy2378F0Eo+/3Z1hnr4PtrmHWre70KfcvUnEojkeCfECSJADcd2+lrpERRwMCKpKGHOLUWP581H/3C9Ov8MtN8Fm8DrVyenfaiKMZ441Es+yDtnxBF98oTpwENtUF0FTnoMB1AmK44KePWBJB1eVzmnPKLUE17wOHEvbXtUkHGDYM3QDf6SbgkZWx4rLYOuQQ0a9UuEBJ57Hn7VJiXPD61tFUQlOtZbvdGyB03xE0hDPi1jdZlq/BAUwvih733VRbRuc0mzV8AN81JKLw/LpYmA9JuAj4j8BpvjDyo4FlyP+eJg7lWxeuYRTyZI8ybMcnFUl1++EVrFNhWLIHzsCTIpRziGhlQ1LRLsNCZfbMO0Y7DYxgJtPlW9mzdbMz1Eqk9sX5Zj3N4MWDt1fsy1GFCuc5xCPgg4zps1aqf5Nukn8AI5KXPCcHEDyICVdyn9HbmcAYVE7alnaZmP9Ac8OpX9CgG/klxSMB3I9+QPOj/NzDPOf11/kpc3uV7yl6b/ZvDqqUsZDjTPBXAO78Nn08e1ANEf9S6qdIFdK4KH34XAPC4dGqU5UBI2uDpiOr7nI0r+NtMCGvKoZtaCIT4uiRKiOBGVITzBLFBJdv+HT0XCGGL/URE1inb7jTT3TeT1ZL/uREIMN5RI7Jjt30KtKqH9JvKUA27xXt8JnlgjpGfGWWrx/nC0H1k01rTRogsOuMiPCr9iWaZ9AhYkltl+VspOr9ewMf45Z4RlYZAn8cd20qSBvt7zBCXZJD91Axq+hg/hWw//iuU8F98VLxv+re9tMqiEm6OnrN0v6Wd+1ONVoogSGHG4AiWmVq/+gbzmXqXYgGawgx9XZsPPAjGUMSl8msXz//Vovynbw8ZpUbhRqqg7IZ/Rr3ZgmXjIJIVGRAv07FCnHSCFkJ216e8c6wXQA7yLBGnvXROTcGZfmaHCfYbp6UlxXigMC/EJQmocW46Xzmm5xAD8R7A5T5ximkKKyG14Zdc1bAuVsVaCgxYkSKHhjjWEUQRHJJKwq2SJaHA9Vc7OT1AdlSqwpCUc3PTEs1UBcWfEJAasPsDNvfII6IA28k8gUX8n2RJxy1soPvmapHKwoaj+acGDWU3863dzJRSea/BJwFduZwDBMSjoPGy5jdtCcmGHQl/8kR+HPPJ7dHB5XWkV+oCgv3WGgioP4Yh+EItMhQw3LNsPpdcL87OPfoxvdX4CbeBkxpWm9dMxMh66OcLNJAMqD3rYjKpFQlncFAV+yE+fmDG7cRRJ6kuLX+vG455LMLRUqCAjf22YJcYFmc5SOT+YGoVN8WQwkoE2S2UPnogPEN6fzEPn57qDMvI2veu4kTiaeFaA+k1kSc2QLZUbaq6g5irdog14iT5ZtSSFADiNV7EU8XXfUT7dkY9OnBl5luHOdaFPf9f8L333Ozi1W7r2skGQh4NlViVQ4l9cwenqal+myvC2MjTd4ajX8rONItKVCWoDOxQTPU+EgE6BuY0Yu6rP5ln1ex3Dn2pBLGjZuwyFFP1RI6ucT3i3wOjWKyM2vNvjksc6rRuyWoX3P/yysS5UgLWJsnwsx22dYdAFWghEbCeEX5kCXF78Zbll7dGkgNXHZoxU0os72PCmHTnSb+gOeNLxf146FNr114KkgP/nKh92rLt0b0c59dEupwe67/zw99nz7QK+fQy9NOUoTK56qVzmZYMN8cMw0zP/UYUh/7ycbYqCVhhTvhy08UXKySE/jiGl/5JxBLjT3ZogwBiaZUHofx+mOGoaT4SqIqUajEKfvKtPPHnxlJGMuFvfvrERALzkcaYbibHkO+k99YTYjwXTWp3UJr39NQ3L6OBUq1nSFw+7kO03XBdAX9DWq+H20sJdE9eURF72/HjzPZ8+v34rFqNofAm95eFZVZhS3wyDu7QFS2J8vfCgBgPJCIY2GD8vEpcOCiuQ3SnMdMvV3cNwpOdzNTWVuXrd4h8to6zhAjp7HWeLR2gqhKlw91hdg84pkIk0KmUgWVe+A6N+gvtYg0MWVW0y742/ZNVq8ajMVnYRBFK/erhJ6udnqokL9jb8525QMhbyBP7tkk+IEPk93vxfO0YmIzLTohl5LbXxq6VNga98qiFRmzTwH/h/nrNpF9ED7ADAlkVdCUmp1yrEueJfCnlVyaOOlKILucN1vV5g6OjO9mep8eFVmcmZwANk94HhQQUugaO7HEArDmENInUMvMGEbRcvfoHT23BvKr73VzoO4DWMs/twBpqeLSakc6Nldtk33I8aiEkGVSMq75GScQX1QM1HkGywv44P0vTIgVNu2AKBgg5s9JL63kBnaXZkmSgn2NHIiGB5EjUNKKMXXQ00/g6PZakYNpRao0s678NFKLZIEF1DT9s6bwhTU7IRKYUMgk9w85KX4PbtZD8XN/Auto7ePigdJY5JEfLwV1muKAE+v9IdIF1B7dzJhDGlp00IxLgMoQvxTn7PcGga/PCDiYCTHt2mjf3LVtmXYPOMfyyCemItIG1mijOTyapb73GDcE630+O0WN52dEUi9gcNnxb2vHmwVMFc4Lk22TAG1r8Q0eyN5vWuZ7pFJlGgtxUzl1PIQObukWYrA/D76L6Np92nj9dPmaeA9cPuQbNQHUznaD6lfTlZxTCKp4kot79htoUL8PZ+j9gbyy8abgJv6wwYyASAA/tbe/v3r6jaKOWt/29+rOIr/o3NslgiagswumOc7qAfQLrZK+BUZAGMb3h7HodR9uvOCv3EnkggzQd2uDNLwC9KDoy8kRVI/BKh9/zJJHPMUPqw57ASbBbrKiREGHUNB3pOLCiuVt3/yUrGkX57tUTBPR3oZ8wGKk+Tq7vujqDNjYFgaDEg7QgaxTgDNCdLUv1H1hATfiAQfDyZSAkvWe7FSNZdF/TMDWGLzUc1GIJnkcOeAcSXXh/otkBmJrYXKR11stnhNPvkz6+Xd+YM+qjzAyfp5nHoI7kZpV2TMy9BoxOshsN6FHD7ex7bD7TH0rGPTZKKEqYi57cZQqjzrggMpsG4hT2jBoeyabh9mgzcoe/m6zhhS8sFmES7DTBzGqcNjUVI1ma61ExQFe9DBt9whPFF0yd7tRMuTNiId+bB9GDvq2rBteiCTKT0Wg2czKYtTamc+G6xMBJuTiotH7mrYAS5V3l7MqNUwnI9iAw4HTIVjldwM1RZPx4kP6Ajask/OlxIrv3mcjF300xCD1KRurr2IfBOMzPfr/KGb0eI8KzLpF2ilHjEqRXxKzZ/XTNre77JjBUda3Jx57Grl7EM906HLjC2jdvjmjNtHSdBy0mfc/CSK6HXWCFffEeIjwu80JkSCg8M0dugajSsx79SzzY8yFniv/3NoMzJc3oQF6FVbeU4xE2yxjWxE/57EKA/LkrA+LpWXUIykX30Qw0KUzf9w25TJl4nzJiD54lbZGlK1Iu/mcaf8Z9rpADtwhQetVFye8ZBlho6fd/CiJS0gWYFUpXOzMrefTKMN4zQF2YbAwbUGVI7OC3UkiXfee1+E257kw56Z2FH+7KRW/cbybdu64OFvo0EBQoZe1LQESJv9O0TSwZFgQ7MzTbYi1orw62Aijnw6TLWsSQ4IsC5N8ZQkgVA0wkGvmLVTf0ZgWg5gyTBUb4vPGp6QqjS3o1EgI+p6viAWFqVP4Ke9FRX+R2xxQMQsKj6EXThuCnPERcL1/uaa7JIlScHlZF0kHzmkNqKn/0BzdopBRxRCq8unBnCI1G6H57uc/3LO3JgR7QTSUTxpxCyMK7BWtlroivohLL2rRvLGXdG/013LcQ2ncwwQEHlEdrJCoUuCeaCGPNe0TbRnlHLD2cKi5JjXfajrrBq7yUupybDAhkxuNXRVtBClmDl87fclaVj49fyDnNsPr39Q/lcea6tVDjdfIx6WC7yGRj3zn7StBNXkHyHCbhWhqI7CgSSNFFrrVfEL9vu4s8Pq/qhMsN/vBrRvkx2Nli/rsbNRyGnwUgqw+Si/i4Zot/BmFRr+YfcGtffGMdUDADdSVAh7i3xujhGbdEoQCfZhpb9IhZjo0DrW/chDNnCePaB9yhEKDnyYytYZg7ddTsLJowiVY4pcDzVV/i2nUp1R/1yaOn2NPJ6bsCEWUx+IIWcgoYJNu+E2dSJKiWM68tHz76nhn6qkVmjuiWIxhsN95iIHwKBSQi/kC1F8XsUeqlLXMlgXMq6NtKyFGzVJwTPWmkmc1ra7RSxx1eYb/wq8MvJIWWOQycdIevfqnRzpuOIrl/19OA24vIsaZxJo69ATYs3I8U2Qkh45zBYPUf5ePElAd+CKpoA+9A++PsuYvtjjkfqJPyHodV3bRuPfoY4+u+w//a3zkRqaCtlNJXjmaYFGKt7lh/ABZO2k2/gXiAwM8Knpcu4v1b9gq7rZlyUDyP0v4RTRONfjmaFPZwNSHLwEWEMjW/EJs8cmK9B0Fghlot8TrYf11kPPN49SlHssr8F0EoGdpjIjkh2vU3ASXCzR0qUmABV34fQrcGERX0PUxNnf1reFeUun6qqc7jZM4K/xAiwrAcAujCoHLS+nlE68Uor5hzdrBsq+Hadv6RCxqifbnhW3aw+IIUpOPymyZddVZkbHj5RMg77KP/t0d//GlkoTyHeZJRu53iGeIhuFuH08TQfyPcG200cD3Wl2sZsir6hNiQMj1VXn/4BnjBhgPh4saEIBtlXPo2NiUH5dX2OGICSLDKCleWQ8pCfj5npM3mqIul8a5FG9hPJWg/3QJNfYPWE2g6xWodos0mxOynsY9sGvzVFgFZG1trLPWIkPHzinvakJAJbTLd38o/ZTAWl+52Xw3mLrlrpczwBRgpxpos7ZZWHZ66QR3n36hufW9qIZeF06qL/Nd+AMg8J1UKGfhU9/41Xl+6CLaerYzmVcZbNh6faszbULp7Hm+GsmonBKqrifB5+dZA+x6zLhajVRKO/cGYO7hX+BLE6CWVmplnxDuJc+TeM9pgALcW7v8mxajb4WbEBA8GwiaUg753BETDPhofBLMqz+igm3UzOQB9EmICqP0NZ75KZTSOw2yR+01BNfwcQiXuVTfesV1EoMsd83Xr9zf4dTJdKmEfCSE3UkfLEBokd+UVbVW/+xBr8m4gO3gFcTCY6GIVOdTWFga8g7iO0fZwA0SfmwAyFedkWLj48bjetUplGOeP1YOz+OwAWCjFyo0gdmIecYJOk0gQL0cxoBsQpzNrgvqNVXap1N66Pq9fln/L+20+L8W7mSoOMf4SJjcjNil88zoUBF0p4evh0cLSoh19x66TGF7fSyzsZc3wgAZqdWFR2v+rAUAjOR15svNvVf0WNfN+0fF7k1mxLKIHRPyMHQYpRmLX8gNWf9DtcNo0kJNPsBt6kkMtbfU9eJSoGYYTZuSl4R5zkMop9RGFANcpsRtKR29TNAVEpkB2Pyujp6jjHpNg3PnEcgCbn2XVfAOkoO6JMjHRmg95+5H6GAALY9E9L7J7dn1ETfe3G2YlYiooWeCbPROWr0vKcJFE/5wbppO2oTPVH4OEdss3YOQjUMFTOGCcRWsmNKOPDasGFIB5S70ZrzKwNeXq2wRGT4O38nWT1nCVcvJCrdEmjyonPDjopDXq2JhfgNDeTal5gMSqLyXdBeGUzp9lRduv3jqfuKhwXGIR1VTDY9mx7KWasUu5wbm+t6AzyC4TKFMH6/3f5PA287jSTPSlcfZQuaY8rA+iHpLmEoHVwSGJjw3FdpLcl8+C7Wk1Ssa2QV12chbs/U3Pzkx2U6dxPa+FqRV9Rg9agJECp4SZMSbG1aiQ6g9xM22u7+4vkK/QEsyjYV/lKCxN7MNkYoqN2pfQkjonVb0gQPjTaD4L4p8Pc7GI8TPE+q6UyuMZ/Ppm6RmbEsm5FVKY1jXtduNEe/15go7doQUtd7Ma6adImO3NZQ6O8xNSXrR03IyeNiZ2vxYTFN4N0l+HOfJx8c7G9YucZpNvL6g28uCvaH/G6HRJNxEl1Ba9aXQxdO5PXGlhw7XyXrzFue7wsFKRjwNt0T9dsM9KvT1vqJk19A75NF4vkYI8ztWhaP84rzS+wvSlwECbureQUtQ2woR+29sV5oWiimsoh/nA/Av6fs5q0syCRNxx096zcPFeuVivlT/DWaKvvwkYooR8rKF84y539nqumu6NDysbF1Jmb9zgoyN1DrZMtebixH55ozkzObSPdPXzd+An68utUA1FzcMg6/5lH9vVMnqZLV6B3WcUiYC4cGdSNe1zzNRqLo/xlfFnCKluHONONdJNFhU8CcarOxPVpcQs9KVDQZdx8DX2vYxFXlydADv31EZP8E9Dvk5wkV6tP5pKv2NEty4qEAIYPzNZHfSJPq+913dDZmumLEBt+9x5Dop3dzxLNCyiKfeRldtA8hXJInVoiL1oihOEp5ZTNP0qwAsQ9ZbSJgnkzBL4mLinO1BxxgBgb5J55Mc5g4eH2JmuDbezP7g/wdbWGj7VI698dzPUu9QMvOKF/7jMNsHclLTSpPUfI2Ijf0w/B1uiyfBnMJYqU14AUxHfT7X4D1z71tUtvdiWEx8jZs7DyIXBWgfh7H6+tvqWwMvUzaFbXisP9sOtGD6V7pSbVk/e9P0gb2S6W7id2YrPDrSNQr34QMofsrdxPEZXgCsljP+2zBiz0swDNX4O4VUZnbcVZbkdbsDRl5CO61IAg3LnUf/aIFR4eQPj0059BnIYDBV+ITvePmSUQH8gfq7q2fIOWYTAizqP5/RIecm7lG00bEfVdu+fZXewlZM/V77OuS8YMFNOJ8ZS0AMOWu+n0igFqk5fweaRci7zUnkMOpbdoRbG2fAE212d2AZmTHbI+ykN2IGpdlKYDxIAESwsUyTfe3Df5D10lB9125f7WB88g6C30SvWPVvGhnmeb0BtN9iRJdG9eX+oga0BIiWO1BIUa2Xz4/nBtEF4PZp/K5wmI7t7XmguzKtETR7y/MdgrT+6J+oIIDExGo3rukH33gPb57bppFBRPJHS9s5rlrgPqWccYDW7fgOn0yF0fxWh+CaqbkJTKU5af7B9ILmv1e6Zoua/0QMv42Bv+ofU/aMBapSsFEFRoR8/B8xLLED5kJnKJeXCXtl5fxq0dTCbdYC3w8ERliAAAmaT9pp1V5cziX5KFcUjUcoQb86WeKuYGqhpWntSEv+ZcbBHbl2iHnsb6tGJmm2uRJG3B3XOBSALs0bGA5lXfOQsdkN3wyW8hc48TzeUSo6HUtLfSVVEUgan5XYcMMW0Icd7XOPu6fKmR36kT6Gc+l+1MGTbPw5erjCqjzBi4jIjS39zaWrx1FNdfZ816fTU9ByueoGx0JvDkzDMjcaPIFFhDucTSY3ZWngz5xB9EqUOyN8tPxm9CbABIlbOPuj0OfYiQU41lRQTBAYomVkJAcdFe92HHfcDqyRHglIig1fOsU9upJQCFqwvpltGT1sjwbTx3LPentgEF5/zwmrSCGYVZ+uQ3hKxMWYXp5q3qOm8GKzIhl2TsABzXvsvffaPrh+7W7dAQJuZeArcTSCZgZe61wAKvQ4fA7m9oMucVYJf/1iF9CFh7thyE+ZV0EF0BaYc405N9YMTxu2hq/twISQi4sOae1bfup1Qv8pShs6s2c8v7u5Ptk4RMdL/YVG22EHdTejJUX3oT0i7tMiPC1FvkULugU5JzYbATHb8kpdOOXuf+4XuWIk4kLgdWoh7c8+RFWadwZ2fCg6YTWYDlyXhRM11CHRURme3Sw3487gM0SiMs6lfTps68wYlHu/c0QsEVRmwYdG/YWHyL1+YKFMLm0k4BD/LIt71/pY110kBQt4xBw+lKTFMcMnU/brg0sFcBKzigmuwYE8nDUi1TqSFnNm5B4wzXfEczQAdamO/AmlcXMe7Cjq5mEw0wS4IcSNSw0nlNq3pIO4KGgr02+WtI6urF4sbPbYZfpffLYpc9/EOTZxn11zlQ40h+5Rj90FXjlV3Yi0K+ZB7ebgRvDVtqAbO+/AblJ9KkpL3qWnL0tDXfoauY9hXhAi4BRJHC6AzCjazY5O1QuiQyQ0pQWAwPqjjbr/S23Eql1AYng1HBbCKOjGSS02A+zg1EpXZFTH4YwZOwHXMhsCHSmLIJCSVRpCU1xESnZtJoWdEcN+k9sZ43lta4nVjrAIzD3BEbNdtSeTqMaJsQIL/1L+k2T7dF5x4Ip1hjJjGEAX/sek2+zuwUKVBYdotydua4uDOMkD1iHbHCx8qqZWyTAG4y+DCBXVE5MrmeK5wRuzAdGZu8i2HzQ7GJ+2HD/1dTsyWHJO3oFFeMQl6lphm5q+JRBowZtoyjTeZoDQtb/CxKau2XgeZjdJR7G99qgMWg+UbksABUUAb0kgTU5LYHAzuPh77LF9ykANYCa9pmo7RHVthcA7twWIH2az7fEyZ3BoBzuT1wzL5TRBRvqnQ2xYOtEKCb5gSQE5LRxjDYRwvL/BCeOZygvxlIstf3DkfqjvybqwFZHfwXA8EwhRbcApl8IfegIiFN19X8dmKUCcOuRllOJhvmo9EKUgRkgx2MZr6vsSVASprHPz8boESM5yBFdA0ap9uhTJK7sJSPvHDp5MUhpJIoK1BAjrx3EFGaS2pi6NAedCyalRdRsmxhGYCrnvYiiLC+5S/vTPSS033dWyw4g/fgUhGLCm8Zh7jZj61o2E667pKKXUVGyUqYgW8U37ohL23TlGbVAVRF4qEsDb903xpP1gtmfKhdMmC4zA5Z8uPezXSKwAkzDcu7ZMP1+B2fLVC9Q2GqYeg3PkicUIx5Is+ov/LAJJ2JMP/g0sjRWnSXRV+L30YB+EZc0cNLu08kuHlS+9oCBlFai3i4Oy5kq13elUjJrClYNvuLF1WnRV7s4hhktnu0jHCisvfcWzQ6mK9an9gbj4FRV4xfHfJebtDUBBc05AZOmfObkQnkPHErMVAwGa6fG62IbqeWtE2tnRYDoR5a7bI0NqQnB7hipbG9Rebfg7ssFnEhvzfism3sMquj12pxW7TirPnZOLfJjRb2tc4fs4CEyqkT2wuE+UIuFzt0qiEsxjUfNSV5SDhGkJCqL1um6fG2Wxf3fQb0a9KUfgR3KfMNbexAqSgZ0ECzCQOXEXcR5PBsoyPmsClZFtyy92KQ1Tk2I1pWx9MDz6CxzyPaxVHRzdaqNnYJcKi0r4HUyqTWZ6C6xtkex3Fyz1ONog9guyV4Li6+EhHwZsf6v9K6469qudCLWx1KKMmeyKZBpVf5tG4s2NvkRI+uk2yE9Vx36Jc0g0wydTeOqHoLMqwN35Ms0eHDdcTsw+Lv82IDuKawnoxpToW+u1jX3670XKe0MgCrWyw/CmswsFoEukCheInnGlvOdnwD+qVrNa2deKNNsvnvTc4iidyIb/hZnq/gzabfR7H3Jybr7cNcLAd0U9ar05MI6FVm78Frwh/zOhxdJbtVmOdd1Xv8Gp+cIq0T1KI57cERvpuIuDIlXkvi3a4Y8cKLoJyr7lEtC5QYJKBmGSzswGz6b5482+UWjOVAGw/SexIoms7ZMuTqqhZ6XrCFxrdqRjXNN+mBMCJpZ7NO0G4HliyLweyEr2GFVFxlGBvAWpkECad38jqjTaOp4/i7uKQ/Z+jc/SRt7UcPoHjsO0CjPXTR+4wub2VxE7ZN/EpTq/MaaOikjNBxXwX/RwFiP6Me+EsvzokHuKOxNXM7oiNQzKWz8crlVdGV99p5AYuQHb/pfvcvXHYa258rbVkGpUlEXTOC4paN2c8kqMcy7BWtgWRizp++4IlwINwxLvXyX7iw4kdMK6ye0lQtiz1GytsYeUULv54LNMKtZHiw2rgQn8CEONEJyEXoNbqidFbP4NJjNOJAilgs3cnlEsHUsKkNJ9/Db91mC1mvpUWXIr/VnxCwtUMMOTmH2zC6XFtHauxeSQezlh8jCxOZoX6EdfUyR2WjyjH4abN0bAdQkigLmdLBEWdSks5hkH/zXAXZz7Y/f4z+CRjczTbDRPskzkgBzuYNAMOjoWKZQFAW812NuN2ZWMqpgxcLLLhbMeuSNtu5qyIlAwqA+uCe9+MSxqmnHKQL2ayzEAYucLzPSy1/ILevgL4FeRHytmi0oVuxS1vtJkp80t3/aSvAbVjwvU9e10lleB5djzXK+zHvDUWFcSqCbBAq8DgSdzjPQJk7EILKYr0SKv28wPcZjA7c4G6i/DfJ3dikZf/T6jZ7MeMop0ygRdPtTWS/LAY/hIrKMEIfxegezdJCSCTCKbxgFrND8za44G0FQiojIjeARE3C80QKuZDXEyLmeppNffGnyKr6oqq4e981xdvCp+PN87zuw8WM5KacclgfQpc8vHuHdLIjnFhdZkG7hsYQkxVOc71aQ6hYk7MZHW9ZAzT3ldVLuB5PrVS5Rp1eTHNtg3pbltM+xxIpcWeyjWDpDxLIR1zFrRpRX8/D/njYBJbqfHWq8YcHWxJssNwDaIxxQruNYu6ca2d8P21aTcukOIPlBvXbXqOJIdujAUSPkLuJhjg7rwyKQkIZrhkRBvDa4uVc3W3ChCFXvyBoRPELeT6sTqZSM9yRfPSh+pyEmD/VxDNAL1kIvJtD4AYrobfr28kG0J5NQyGucgahNtbj/BH2XYfC3GmVAsmUJZWJLChn5VxtELFCm/dt7XNSAC7FgxP85EmPZyYCLiW7UPqhHYhTxmVH9NtCQe+UNefKr/MuwfeH0GY5wUHLr8WEDg/81HD4snLcnQqhku1Wb7c4qTkdoKvxBd1jOwpOWnIBGKrfB1id5/XfSbFRQziU1R8ZOmsnE/4+nUv0SSZ0F6nXWA3DfwPORXTqSRkGFuu7Mo6vST0rzv1b6OtzEGE0XBCEHK2nqzZ+p4RVPucPwzT2Awyt+p6MVBL89ix9tmBmCjRPtMVFEuk2aqqvMEF0y4VYp3gobfJJZnBxqnqMNWTxwrjzX3SNVW2KSb58AQjEAuVcGLWn50uFulK/pSNlzlFFri0IKroBJcCwz1MqVEeVLhKrpoZamU4LxTs50AG2QJA5m2bv1nlnwFEIJRCup7Hj1XINF2NlDp2AJR9hFOo6elwV+cxr2stoOshcvXB914jxary7Jl1U1h7m+s2dE0oi3bVNUtcggXGsEFCjn4P8X10s94iq6g87DWz7/+cgd69iY8/KaNkDJ34iy5VGkCt205luPenJyuRBJH+ZKrgD9h/8SM1P2/VYZ76oqaSCqbA31tMnxxKSpCBN3Lw+zn0JOBxP1gE26HUz4zcqjL6TMpy1npGLOhvrM00+SUgFCZqi4iZ3E8dL+3VQX3zbwpXoESjhz2BSYemipRDS3J/pMX86IDVmid93K1i9fIxy8muRsPAdEMm/GWyH0FCYOfa0uTh6otr+XMA83EmBQasDExNsDXeFKrQb7oBzXiFVb8dgLnoxyllLV1yXGcR63rNzq5TXC2q0cdvEjF70WXVBEdsze4Dx1ioG3coFRJ2Sh4rqpGFQ0Y723HMoQq9+Ig/aJNoKF4eiq/mYdAKz55iXhyhmuCaRxWOdGgrYi/LBDZGPZXQlM6KXhXTMXB0wMeZIqNnfNhxiGLKj7+SvPpTUlWlWC5C+QQCK7b9ch++um7gjEiJrT8jQsF1FVsetZANaxWgEp6DdQ8vXc44Sg58kUA+jvvVZajXJoGYrJMYw8tsf1QJV/u+47Lzbq//q/BUf+hcDI+NkanFPHlnxfKi8kdcTZscnKaC8y7lmVWzrf7g1jQDbC3gLzkt3SWnkwCxx25tOHzHP0hXhpPQU7yOXaKCx9751Y4EuP8oZ/CRrAWVGLLbqNwGqmPq+j6BASyTKOQBmgW/togxXx83OjQrv78aslsuQfzWalVnTi9tY7MPqSrPbv84ti54pzxjqcqUr12/FH73WI2cedfA71yfFTqO6/GENCa6d1JY2GZaukrquK/JxfYrClmy0Qo6hlummXF8jA3HuKooO+6Q2NdG3L0QVcDmi0oGrJrB+rYwhNEwuLzjdoeCE+O7wijEI/yBFhKc1H7+jjCbBp0ogE3prrapbdWE0Ls1jT2xgauPAlOimu5Lkv0/0ChMzw09eO0M8CfsH8CSS18WH1CeRHUEOYeL1YlIEP48Rp7oRx7jQJtxXd1W3/hzUfTfXg+GNjkimSadBTbhzr1IsTGdLPnXg3AeDJX394PQ8WNxsVI+8hXLtt2q7y/78s5TJB3C9tBurNPC7+ETZUYG9cNjEIqE6yTDMDuk6HcPtlYuO+K7qSswZUr3zg6FQC3mnPrqRTCUdsvqe/31Zl3v7/lMlcMJ+DQs3iDzznCj15SgHmVvD7BfwG67erbMa17HKEMQvAYPvJTPcekIKplDZeA9dJOtgcvv7HsjkmswENE47wQG9q9CJf2rD5GgdD1hyM9BniFrUzT/I/xVpnYfyDnHIGTY3g/PB81VZYU98qjRCXxzcyRC3tmKHjVBkwHcrqXMrYP3mF0rzZAqkmgrEkpDGpUlKOklpuPa6O3yT+EpYtlz6Dca5wWiIQiVZgzif9Fx0Hn8Oa5TNUrKT0XA4ybU1ydsLbWyZj7osxGM36Lf+WWIdyQju37+dlpJIU04++jhgqj0UJHcewqHq/cAXH04cwCDodHiwlilYwaNEQ/YvyvNv/1Myw9kn8QO0lYWfnM3wBpJLEyLoddziptrv2Bq8mPdNFFlI8zXJoLxQ4QQRvMFeTWFkE2qh7obvvCpUh/gyW36pt2HCm5KNfAODiieXt16HRvVzas9W4UFyC2Ti584YCItSGFLUtUEH2KwuNo0bXrQj221tGFraNG6jll9K6MlJAivDW7DMRSk1BCZTAxYlm1FAsskfVPEALG6+uOeSKl8EmItUeaG2ddpA/9mUP6y24nArh+q6vz6gprSXpiLWYRF3DBJnR7arv4i3//4MeZbOML+h7RGe7Qo3h3a2wMFf2npqz9pxMsczju2zP+PbWO9yGcyN503iPLzoNa8UK9bEz2uGegDZn5GXWvSkzrh4vnuj9nHtDLgLVoRgz/gFMD0nV5ID3jsonbPr1IzptJOycdiMc6DRrWL0eYmafyPX5o4xMUhSHUKZk8G1XLyRdiJxDSVGge2EYm+fLgBw0057F2CK5E3SMUI4RVjB/qIC4g5nFUaxO6TIaVcu+p6yyNqjXMYqCswyf8mWedhbbo5tVzy3OdpGPzyimx/e0qj7E5jovpD0ihCED5nOCL4BeMZFXSjq4t0q30Q6ztqPaQP54gvoxMu1EVaBbTz+HKO4tPdOo/6LE/c661h+SEUgbIGP4I1aoWJH1zIeAh8j6WT8hxYUyGju+pTbMNn8dboveQj1QX7qeoVXGFeBbSKzOjnBpDCiimVTfl7WTQVmeGICYLt62ipjhpLZcem/2MicpKuR+L5UwHeh8mOvIdPcedwrDX7HU7VXYQcQCqcw8wSl8ayvxVk7zVuG7wWON0TgawrIzxXnjHVHH4mVQun5WPfQQmIX8sAIXoEsvDNfAwEUPZyXUHLB2Zh0BwAN9t2NjKL3W6e2Qynpz0vYMYk8Mnb/fyvjZjGPiGWhOrJgXJPltb2NxsTDSnzHFm3THD4vORRxXo9ixn9vTrMGUDBELAymYSV2YVXOyedPtPhj2XN4ryzg9nelGBUd7/qYAaQ9WxKPmCZ1C+DzIhXtTV96HLmohcZzDAXFMhYTY1PCOuD5/m27rag1rwzVtlGZWeXzRcIMSoXRyZP8BotWmA2tJGuKP/iFkj/p/eIqPlXrRJZfqlrdD0v42v0z9uo9Cvs9nQ7TwMNatu0suo6FKYOxK82EHi3hsLcmCy4tzVi/cPXGfF7W93hmXiO5weubkcFNnfhLBzecs16CJcwv+vd91BqedGV7nd8+JHNzIftsK8oNCuEIUkDqlgAXvuHf1BdMMEexWGIpCJSCmAobETbnw2IPXe3aqVq4XyBWZWSbjBhyvgqc9bvB6dX6/PBiH4tPIDFi/TpANbGttkyjkDVlEQjbBfhv4IhlvckKGu3KHDsgDjuqmuPP8nEDkRUr8XPK58g+CsupmxQOeBX2HxyPL9B7VdP4ePoOTJa+4uIXPli316+8peP8icATxFFdRzoRasPDN7tqheSJ7gnIh74gVv7/sQ6mSoORMLgwqlWgajxsshmOotJw6yrt7Zt12vJN/OM8MjGM5NZknLprrI1XJ164LERLdopTEspDyrJBqz59VtEWCd6U2M0JXSJVsnqEFtHCMNtCxRbYHgbZPNRNmz7gyCo6++jQYyBFDBYsCZGI0CIC6yXPgPi6lnDBTzPYh72o7wdgJx2DUdBonGvjnxuje4pzs12Z1YCz52J87FFEN+6LB1GVr7Ga1q1z6SGMucNB16PdxAtonRYmxRL3BhCMO+GaYdUIl+CE3zXiXXkYbFIk8RM37aDb26hgjWsj8+d2Tk5/4/QBTOtTP1p35alGQoutjxt4VTo8uvXAyuzPcKY1Y/QkUMjJIoiaL5FEeC3YKJ+w24PKbZn0Dygy9gRIJ5Wfe+uugEUFZ0wzR2KywzUhOdN4ezb9uL+06/7VOlSjOD2Yxz6ssiCNNa91B3idMPtnOBToJCxXiAX7GByFp+eHbuvhuFCmUXBF3lNmZKSa4Bu94G1lSGDp2SesUlgwHvVzOyqAlwGcWYsNAHvBbPQwGEVR8AZkye1pzWJZhOU2W27TqFjrShWm02ACes2kmymKz3w+I8CHU7VdYxY7RRt6Vsz8NdYz7LWb6CRF/c8VqLQ3fR58xHlfsrTzxAfdX26QOXvdpitHvgrRauGM6uqOutCYai+j/T1z/vphm4GWau/IE3KhxudS4c+j0mxSl9AxPoSaiETUpvttFju5F+n3DprCuTEI4lzV9319jP19WgjTuGM4wBsdBiAzFranishUARXqxUepMVTN/Fkiv3p0xQ5iw/A5t0TFBC0T80259t6JZsyXRVqNPLhD4mcgdTcl81lgsFBV5jzzCXDobIk9Vs/X/cMs855DD+UZZb+7/H00ph32z5tdwWVCI3AIKaFGJHYcItJKzpYIKSQ9kiQ3ReoMJZYInF+cSGJjdvoz4011DWfOerE6ljbNhmHri9/H7xBH0DKZ1Nq/H934BlEWHVZxk9ozqXDYwhNno/jQk+vUQMKuTXgTOSPMOF/aNzmHGab0jy+D7ydGWAuZgpCB9PoPEtNRM6MtRoFv2M5zS3LxE7wsotPzBIty/jz0gAdPeyrGzWfpnJZ4CJX+ilImPKS6gW/LrjeKOTL57+1hES1E5Fywvn9YACWOMJ+geTx6dVBfpMMNi6Xi/se8O64bBuVvIAlUokBRJZY5c94+Mag9Gm+qidEIcxJPQwFXYNG2PB3HlazYA0RuZ1wwklR5tnEq6QQ82RPkKCb/iHl0uWbkc+Ae5vbPZMoeu0ynkXnheAuStAwZD6T7digcCKh/zBGMMNq2dXZ+bAevMLN6fgvKnvLdxU6wxs4rTVgzpYvO+sRfXDEak6LkmtTSvFYsa1CwOvH9IdhbDf6IphjMNy+NsxKgLGMMy8+GkD95phoT6epSVD2+om6YUSwcObwiTsm4mQyNhq8y8xclbA6NlRw0dPHhsyEoCgTcpsEPb5+6NugS28LwgNGcWG/yFa2BmSj0h4x6jUPm7Cpfqovm9i2h37lJw0snqvHQgqNppfx1heoiK7vqTPKTsoxyz+vtTGwJGa/g0p77Rtbwv5uh63ckSS7ivxv2JeiQqshVpsQd/jBR1WsW9+H+wOu6CW64DBpBVZOIioXNsFfhFmbPIZDUwbBXOK4sLCAof46RBoXQpOAqfWK7pUedruqfGygoXbDMqbA5hlE95t+2c52wLRWWsmv4mwfS1PQY3HKrDfrd+KnFsVkT6lXKIMEPVm+HCRc+DfYcZZntZUN10kvNkORbbt8FqebLBdPj6YU9hGD4LMesWljvx48owC5SWP7IocNEMy+Na6M2XYpfkyc8EpP+cuC/jtCPtPkvikDKHOa65XTnayCqVc3XEg6rJpCjcYmo6Gct4B1hn1Sa1S97hLNbqJ6PpBN7ljTWCqmb8ftN8+gtLCJL1U8Hr3rxa5+fsB1Ya71LkoKc69ById5Heyy8p22r4EugjF9yxX8nqyl/fw14VXvNdKklErVfPa8Nfgj+uAHI+BWILz/qSnOmcKEY72H/f9Myk4VLHTkbSfbMoeVNPMs6mC87KpJxAmiuFj+a7EIxLo/qatpQ7UhOeGM0v6NbpA9BSODlc12/Y9AbDJFzsxSPPIwYACK+y6K2/TZIEBpxR026+yijaOTH4qpBUuhjbZ+xz41eqiryeVqMvSaL/r6fGaRs9qoM8sjLh9KKLuZR/TzE5EiUhfPrpXIoW2WBDX5jy+B+MLJA4dqQCrv91yKDUq2Ns7npFLVgODNxwOTzi4J8sGqqPl8cikYBkFfihvcgVjDvqOgSuaWDQgvQJt1EAk+Rhh0nNWdfB2VhlGzvwveq3wM85un/IPmrzla5UIr50Q5GOSbA8KoK6H16hN/mu0u25Q4vyOc1OkBusgcbHlREXBhanZlxOExFgRchNqjhGjQAmWsJMp8cPw3zen7CR/GFAKrj5nq1UR2/63DPEVdra4ERZjb0iecP3k7VcU/okp0wr2ST+7AyN93qkpBbrRAisvh/Khh6QpLL+P0MfgV5gk+fWm7woP0xScAKZZWXBYo3Mv89YkHPrYLxJoP2mpVgIHsvgVy/UbqRjtma/he1WlZkFULDSv199riODDpreMwG2lLSoEIhhqpidPDPO8CM9fwNLfEBRef9yVVNUOxEaveDl9koZm6Jg5mOwp1l7kjeofUv1e6rb7MdIxRTXZbiNozRAkdk1GBYgXbiI/afoNYlJOJxVPZDQpkS5Fgj5SLG1DfmFYkn1ll+zfWLzu7U73LCKuD10b+VEd//mQdKCcQ3zIly6a04uX0T7arCHpSXeVPjOX0pIVwdg0py7+k30yG3gdwnWxjOtzYIYZsO/5gOJGmy3bWaZSamQ9kuMrii2M0LqG++MQwEg/PaOwXXLJIWZyzyOtFPmcFeGaxAiuzOx2Qnz/VhK26KbCyw9M2DuPJUzBjBOMz21q8PdPIjQJ4v3GEpHkCxV+BovlvEAB89H5JPiqaBxBDeU90bJwtIUda2cVfSIt66o4eVdnOTKjHVjRedVJiVqFO4gGd54dPH44kc3JyQ+Gif2RadMpwS/ZawTaJ8NJ1hxB+2g/tEgwYMWxouxhNnp4GU7+zH2MBBC76Ts33M7Qt56UiHhXiWefZuNtYnx1N857vQcz+ku5YZY7rWffPCY2fja/K1hYq5rwHCJQpC1KMKyLdIVUr8vz/DZpD4YAU/G29uwoT8w6J6yKPm5OLfItZsFC62T8YAF8SDz1UEjrDkeSmv4HPq/syZpTHyr0kYp/CUuwnr0f/s+0LBQPbye9dlobIFA2oee9+nWRgYgk+1cA34lKretBuSgmmqb6KrSfczb3TzIDBbdaCDUt8cDeyMyD9hWpZwgHzOg+B7RtGUtGiVqZ2jQmu5M2Ga67x36pQtxM8evoUDBRP7xamXwA6l8+hgBoSGHT1uUQu4i/HifhzKc+o4++aZA0OG8FqV1/8e3mLBCMfvZ3KvlhjtIz1j5Y9VkukbFFac7qW/lxxSKeAWmsrRb60FKniCl4ItHqm/eJ98jgynVsblw/UfB+GDFvQhe4kwfWOxXLAzZ8X3ahh8gCsScnhA23U3ACPyjfeoH9E2jlxIvJhniXg8adlLFE3JrMBcvGshzFhW9Ra00K9Ohb3NH9UEbG2GONXZH+HCIwVLjXztBp6DniDXaBDWQwQuTtPPizafv/rGpvW/HSesN8Mzx8pfnCmz9WwnYpSVEcu0xg8wUdKsAPCeIx6DWRCRzzSmajT0TgXg8Q06nWQGpNFUOq75erZZ8zgMI4aRAT9+rzNmG8/wRDl5pF+Q1IvFG/rZrjxkqRLboqNGU61PjtL7kiWWAfvdLw/QN6ApdsYp3oZK2TvQpFKuuT20xQvcThI6281NzaejIJA5XVV/E18YqPhGgoEUh/m5Y2qVeufOfBi4aLQRpng9BJb0QpQdfQG3Bal5mmHphO8eKWG4Q9sgAIee0OCz+pNr/MtAkbpaoM4ymjtsdR7yRxuI9MqkZ37Oeb5WCQOhikcp151+uuwyf5jE4CeSZNaqtZEGUxRM3zvLf5iExZ/DRD4pby91JqHfbocZLNG6WNB1XXtv227bzaQAlaA3V5JqTwB+WzEjs+AfCnuziLjgCSByZ1LZ9XJFw4eQmDlAB5eCQkKiCjkzXCRA7f95Z+FCu0LE4pW8VsYKozocoQxF7KjN/4+F/NyAL/cxnzoDHgJjXfCPBKLoV3SZv22jZWA6jWCknRszFXcsEzVW6/qUBvhT8+MTxIEmZBn0JSlsEGHo/jpm98IGDzdfgCsU3h8qttWstsncqS/oqZaCIn4Z/TeyXAY7mt2QbvXzvvbXl3A9QQyg2uDZbJ6UajXKb3v0PxnObNCHfm2B/X+j7JHQ1xtKecijGbHzjbvm1N21lyGWygPzcyumeRgylJNhdEIgPtKaESWB6g5Ff4YYi152qOGANlz+bWbloCyT5GReSsiD/yiVTq/7UiVOo77UTq2BAZY7MtoqZuRld/EDSHyGi3Bo/Z1eGVL6JKeuJ4mV3pXU8QSyG7dMW5MddCwO/LabUTsB1edzXIa0KrR+NpqKCa1vMS/vBYx6YnhYFVnn9BQ0G0PMYEUOK5PBOcUrP6bXmr3AwcQ5zUcfWEyFZzPyoPiNOiyChGHVMSqLDtwTQcvvs6qMRGeOhUZBSzCA74LmocFNFAQEb0XVSxZ28ODuOBvPqnVjinMScVj/VQCXgbONzDPIJanWGViFdsANgv4teofQNU0lLrsJ7AvOEODPswEsmxJMUVI6ODybsNmlQpFaj12xmYH9IWkqtT0dn3IWqDDxrEzxDXxqdU5VMZ0TNGPNPRYYjtFWX/o0sROdQ7APuXXUJsscN0ZQImOEkBMlSpkYKl+t2vxQbziatPGLCpzmOQ0pFq9y+y1iLy3x+WT66rrQmPH6gUTWFIhWap+4JxJXrkplcaRxXCuuffvmTpt7+K37kNu32dJa5Q1sqUCzSg/y11/WOqm6cCNfoIRkDMtHM0vkAzQ4zgdKN+3LTHICcKgZN+kSZkIMVw9CZKOw2DnaxoBHPsJnyhJ8H3SdKGYjuFQEI9T1xI7++5iUfcQMaUayMIn/254EMs00Rtx3W+p0r3mo8uJzS/QivDiBHXu1OfuHXPjsH/nK5arAWp3q/Atr4zIGEyJTpCfVrG66DksxgbWm6SR6Nb2INVtwVWRMhHwPEmC5b7bR/L1zHTNBkGkvHe0zjzqZEt870574taiqswxEJeGDBmY6LA1tRimn2MhXyv9tEuYyBh7i+GOZqAEtx1PFmHwqYR7chGvcLpWfRRKafWyGMopP2u52SEVLTfJxu8xbmc+BqZF7IQgiBYwZX8Q03hm95yrCm+uCPZ3wdnYMYGmRjCLz/LdZvXpBSDJsY0PwTvEKkYwFZhICEH3sGmWtcJcvYNNtix9bC9Cui4UYY3HVByBsizal0eGsjPFAYGb/tNgCLnnhK0uTGiyYBeI+mXEoG8/+ZxpGGWQJmBsCIB9DaOXgfAlk5PPXRyrKoyXuZL23qMpt/WAkgxByCCn8rTwJU1eX0cwjfBotB7id75DO0D0QvVewQAOR1g0uMlPkYX9qEcPRO7Ev74oflLPy4c2Em3O/sexbY8/WRn2MwaRUMxjPwCdhYCT7cMLSZoCtkkTKE/yyVWoifsNlEmVwgwqzOtyR+u4fvTTw8ZVTr5rTkfHWwoxmkNCHAppf34rnTVxT/Shj2w/CRiwCp8SKDDa9Af+YEI+iTTlkiydned0psBuFeyAEzHvV0U+pGw6seCZUjRSayl4rl0EyZ0ofK9M/3O5RR8SkkU5JIQLYpN+wk6/130kiuTMLiyqzhIgGuJe3bqmlXaxTo3fP/zHWgb1FsXQiuv+Lwq235Q2LYKG5QBL1/v91rSE9uVkYG/x0LhdLq49gK6BcKduf46FpUMo8VWy/+3G1KedJF4cf3vDBRlgWnWEe11PoZrQuxoa5BPFZakOO/50Y/Sl/bmb64cT+8xwX8uiNVMNWKy21yraPPrzKkGCygUEL6obsSym6jyAYZ9ZBu3g9U1uutKMVhAvXDm815fvt0UJIFPvzdsIFwvHVGlyq496cUVLXCWR7IZSQbIye8ZbEF+xxX4RmY01ndPMeTk0vBj5Na2/l3lfkQbuLNBmmRTEdDK7RUi5QzbmpD7g4zeF82G7vvu9gDEZ5COMPZq7n8CkUrsOxlsUa0HZwUHm1nGg8Tqt+XWlJcQbjZMpQeISMML7OFgxCdb9X9AC7xgpJhOx+ERIAYVmQnPuU+oV+ZoCwH1ZsZNQzbD7CNsm9sBY9mP0hWEh1qvWTsoOgLpmMa5u+zHyUbqkDBKRoTdrGtICqL5LWCSg6ha8RYvy20mkl9qi1LHdUCTKOeK6iO6dfurm3XxE+yke9SNZPA6zJik8MQaEFd7yvZBRPYh+AUi7IIrw85OlVJzeUMPGXnzLWkPyegpwaYxw7uhNA6gkf+BbC+hNwF7B/H+7cQRmJB+YujyJK9+zXCWamWdfu7IWOi0pMcgPZ/u5bM/FZzjW1n5ackLO38znZ6vYlSsTWGV1A6WP8UfXkK7qkGojTnDDUugwLX7pkG4QqhWnyw+Fx/5EqjE5s/doI0URN16OGaPaT7u6VJzAkji34mQxZRawC3h7KP2um3vskggXTStQLnrA3fwuFg4QbOZ2ikrBiNStjMA43xSDyvypgO21mBiYR//uDYnBg38OQj/1rVCvyjrTvX10eECFE7eXGW+lb+akv6s38DXNx/SeD2VjKAJoUt9rhWJwboyuIz/76pV29qKZzQlXsa2miuLHJHhhqV7brCMPpM21EQFKXFN41Nquq/c2QahsLw1VMzgG35tuEbxmQVd9L7F/bAoVQgsEYRdxIaFg1Yqks/xnf5M69Q+4QOFuim+hT1BKnCmmUnv/qnQGAt/DFEIMPXtFSSsETfAgZILWRRqLNKmdVLHZK6lweocc27i5wWHOR7LHT2sdREdSifyNN/aoC+HtJpkMmNWty2NxjCg7yUkkfpMUF/ai91tjhvd7haLnlBhhn+Ytqb8RSi17x45BYvJg+rtttaXFBqfXXAZtN2n4jY2A0P4cOCHfmgw53klIkb2kin0BnRbQ6mtPsXVYMMhTUf3SzqqK0Xf8qW6rPCG/QZr6xcQpkpW+HJ6Q5P8StdnW6ioCCZGjLwouYJbOU3bYW3cFJbGtWgjG/dbRzz1OUJnER8PcCDG2ERccST/ptic4E7Le0DXn/PY2mG7851KLxVR2F73OEYFYwJxHhG+i8ykOi/EcLcJb+yeBLNIsQ7jubkaIHNYGIdH0tLdrchhnxXP34DxcHwLj0NU7ksQwV7oixK1pPwCZA7/vxEVlL5cO/Y/VvrOAAHyUDEbMFXUHv4vsK0Um1MApI75AteH/hg3WoQlUPCGLQHZ1PEBBbA3opzoqiGCbz/uYaXH9DNejAm9xcj0EOZ7ovANMam0ch0kmXLtJNgbpbhMXs579KBCbQfcHABvm+frl2o98v4xkSY1wua5sczNank3P5jJ66z2SiIqc4q60G7YnzsI57g4FxWuTH48eh32hhZwfSEOp0FFOSVvEP5ZVIg9aNijye4gy/zNSFd/oX2HYo9gaLhpUIQ3VgY+ibah21Nwqllh8QQWtePurgOF9DBr+ekhlBp7yRbEz/x6IuPQXYQ3ohmJRgUPT75iwaytz1hM2AleGfqV1ar1bydZ3joqDCbCYYcfO9kYg78sWxCqIZOUHVHGI1ijcxzLCSrLXxdnmu1vvUefO1Xtxvn2kdvYR5fvXSttZ/qIDL3uxGHSsomSfvirICAdLLXDn7w9NNLY6ICSE8IdROHD0O1b9ifsA0Pd/ONQUMlqLY9MYiDj0yPGh5d9lWGNwjHl7bdlPLwuJKB1Er21e0PsEYvpu2a82GBlHxZ+S9mCoC4A5e2cEjry1tvDU+z9RS3Wy7EH9SIX8RN3kD7GubYoKdiGDrGbgWumnUfhNOXIoDM12gjDDb4GaScExH+xvbRBto45QijbT7vza7YWMUHLx391ZVkMfd7heJTaws2ueZTxpLiaNvoHfNa94xFNE8auETl/BAlaImJIGKHCTHav9A38fZfosm9+bmK+zMuQJdM1prSMvX2ohLDCpNZcNODY9gadrW0ym9Xg8KnJ79bK0zXxb47YyS24ds0j3UGjGeXDWAqT7HRdpVAvub08sa3a5HlVnJhLg43fra5SBI2O8NkiWl5cCmXkFhCVdv/h8+OjitmbyJwUaTvuc/8FC6/wq3If2EGpOuVhnDHf1ayoNzttmmm5LkEf/LGVGPGaiOzUu/ziCla8NbiLKTWdUO+Nq8KhN2XiJCLqiAWkpvR8SdHOunSyUYAe6IePqFwXj3epnpaTDhL0QEiBRp4DPGLDKS3Q8Px/5jTi1Z3S2qelKbvJNiqpnauo5aEbXQYy6L7Hgc+M8DcoJojTKvFnVyoIbDhv9JDWVl1NbpF6Vfm5Lxi0ek4SmYcRqS1fV5uq7c1I5Gnj9n4GjIWrCLHHaHIbDCFuZFYG4S9G79+c/EfC+qmm9ziozCHPGglLQR+N/5pBXRc7wKBm29akc21VXi0QVwsH9exP/AwB0NSVdVMLUL+Xm9ZxCx2zWJq8TU69lbl32WN5WhInVCnecr4YxvUjHfH3zrE1+GrISkcend1mW6LtMCVvaF8DXIUYysRRB9UuUFj/j9uCdGlj/3UxJAkX3aDJNOpn7KCRnqgMhwqEZgaTdzGLSGLVHDVJSidrD/ncoQxGqpn/zHYk9wgSKoTpv/QI80hSDqImjrvjqGNGXz1eGYhlmQc3qAdxMZMWjpivQ3m2k8qKR7Qv0bwpKKqcYkMxFahU53nKVZyp5L9fBhGmxz2XUkIQre5MNx7H1h6P91z/I7yTezy1bccImpmARc0gU5vYJEV0t4ZpU1wnvMH5zLJuB/U4+x6KyLaCWAJPAZZHqblbcAn5T68CgF/6JQ0ix+imSXk9XWwyjVs2m6SxaWI99dgVnsSy7n0VTSzGvs+0RG1RVO2fwsCAX3O/GPji8io9A2soqRvGvkIL1LFAY/Dw4Eh7GrQqVwmwVvm8ABmPWInLxrRUMKZqpEjJHu3YyeRdmJMkopeuuhIWrMl8PKZvZoNG0P7cpjvk4YibwIL6oyo5brM3pqwqR9Ew7qAyDwp163p4EqHrJ3hmv2n+3Gn6FQQv34lYanLetRjU34L45yYNjClt7A6ID1Ynvwpgh7uwHYlnkw9qRNfyVvP/xS3n48t3Y+PnD1wc/21a4GdRXKk0NS6QwKh1vGPA4FF+9ajkywPHpDPW9CyIj4lnmXm/utft12K2AskD1+Ob0BoaIRRmeoTTHf6C4Q2CqS8GVBYIUj3Kg2ItQJ9oQsqjsyeyV/l2GBaczDlQj301nkNyVBVavH0sEH39VwB79gkuH3IG1Ta4gGeXfHQD8wZlkqfhOLCiOedJKxdVT5akHSzZ4Po9LQRSoay6U8GDwItMaffoXgsTThZp5sfP2XIrkupp4t0547EVcPR9nf8dxW3Slyknes2L44JpKdHFWJQQlgzwQIbNkb1jVe1XmXVTA9Jst4mB+Pg1xypvTs/VnPMMzOVgUBJry5BXcy1ZqMVEZR+9weGGmmtltlOH128I4l3l5kciWw8mGGICi1lSgslxFsmjLfv+RiadYmOUZqiobAHv4r1GBRiOp0kFLJuXUCcOvTYdQYLcPX4h/scStYh0wVRZNRWvKJ77Tig2twWnEuJAO+vpgmK99WbBHHjCuVv+taeWW0tg21zvzPr9RWQNpbu1FY02gvywDbZfi8nrXX92VDAkAsNS59Xw33rpKqTXHkRi6uUnfpvfhOmxsNiOkkOOhf1YBdH24eaEkaHXgrttEUuP3hMw1300c7SBp0AxCnjUxWGjEim3cv6hsr+hZ4HsbKPRMpG/pdiwQw1JZZvJdhDXZp4oylMqN81rt0ra2pSTy80itBSvDHbBwv+alZGDpHjmbYPBqXm4zy2ApeDvVEk6lZI180L8ulkOYa111ZOi+as86RtCXC1vssSN+C5pRQtqD2JRbTSLg1yHq29YqRrk4BoNDKgv+brOjtK/YUlJxB4ueWMBYdERF4tBZtzHIpPNJLUlAxJ5+gG9jVgSfPlZFkE099U4d1gaJBF6GnE7Tw/KJG2enDA/86pxjNp2ZTwB6nidLKCrl64JANlnW+C/A4gcpXBWrMjNt5oaxHj8UkTk9gq6eX3TNnJ92xmytnDuWezHVwQ4Vne4weGGvnsQdQDnRhBybA2CQfh0OjEuKzbHlv7orzyW4KZGclZDnUSsvvxrAXKR8AT7PVSaSzSobpzcvPfP0vEBSiDW2QE5aOKyDaoovMdDKyK50l2xDeAlr8MSXlKc8HiBR9unkBK/vXmLyOK20zGyb1Mv9qAP2aVVj9sg1LS5/8Cc7ZBeuQpbNPCOxXH+7p/hMZWILIOHRkVuj0Tqr2IxAlZCys5xgOtOKPv5QXGTm/CLQPzs4cz91BIoQzXA0b0FI4Zx1t/muZM+38kDljrZvnfqbboEnn20nU03geI5dCTa++skawibAKOLweG0yLK93rA6//tc3wTx1lWhmL2WBtcBt1tDt6J9K90ltxtJs7qfZyG9UOJRC+eYLfuAQF5mpUZ8nmFruEz5L+zC+XfpudS1WvC567O7LW5cpXKT6zDw1MVzwId+Jt9KQcZK3OvV3d3+6hClqTZK+A2xlSEZHo+tBTWR27H2f0hVy2yS5oM0MUrELJVpfGS8b7hrLzU1CSQP+Kuz+ZKLemlkL9Io7xR7Vsmgu/lJo6zIktZTIZnDDLAdJXeG+OekG8W+z3NuqEehITRKN2iO6SPe4XKDksh4o/bfvnxh7gecoGyvd3QkZ0TPxMR9FYbZpY7XYp15VYeQRLXit+NHcDy0Jb7WENOcVG7LVAKKg1g553HOKeYKwIrU12kdKPM4TuoSAuw6cB9r5G+w0926JUluQS7Vgzsh+Snz8D9m3Q0cZ+ci1ZcGVLkPXPdLZd77cBhK9NMIc6CMbfz8pYUC+T6bLiUYSisvfIW0qUYgCGv9rM7tMHDBixRJqs8vgKTAH0n9Xfk7z/+rgNU5/Dr59npi8+Xa5fUW4QCbZfSZtHc+Dij9ZFdQ1odKom3V5gqz9OAMkA6FUYTKtNxWZhcX71YaX0chLA8zlIPmzi4qRkwXJlJDZQBbkLnU21+y8ftULUxDzSEk7stkd7DDw0xDsOeol+YVwBKiuZ8yaMjR0jyiWh8szUyO4fmPWI4gB0/cSm6uXvexcSpa9fJZuPx2h+jr8GlsTcyGHXWA8bt0aivPKA0uRKSmvTUYGV+fXB2BOFW2zB7PjjYPOAWzyUqbce5tBuFNgFx4a+/kfaxWaa7FgIXpwJvp1GfKBgOtoKkS0gmZVWS49cgrzqDc37V6mSvAxM2AnR7KgMf8eNsV26Uno5x9iT5rbAGkOI8x7JUAGzcRT+CLKiA82md1rOfQyZwX3eko4bb+iPXSiui7WsT1jKIj0dx4dj9FY8pnj4Ym3XJwi39y2/FO4wLjg65Ub9L4RcVLFE2TB35G9NE5ehNql2gW9b1KyvnwpjZ40XMpj0LaP0sMolGJxpWgZH3O83IMC19NqPEsuxKESg+b2bMV1ZJBkm4EGWn5Je85kvcGRQd/QvFI/SJOBGgEEtCIsujY1TwVqkOashdB+pMJ4lbpwjWkMp8mVbgzxh85KxFonJG5kkZCiNoMZOeNxJU3Ymh340uT+g7XjxuoKywI7aQUOXgOlJjd2Y9EM3XfSoSEQbsb7DRYLlq5T9n+TlS3mUTAuJm7gxhOFQOKY4R1dLLoF1pfdxFhvg3V6cd/6FyT/KpFvm2iLWGFg/nfl5gErEv35fHDcevp1QNMKhzRoaB/mQGPgBW7Gs2Wgdx23NHQ7+mvMwUfIxSSyEBHNXiZaEQDh5kgxtlRFvirXhuwhf1k9TPWM5LXc85IsPHI1HGZPuNEIopxJy2YB3OinvWXJ3uctUC8cN+C/ziCqY8Lz3Is7RT3cn7AOftjp6jxvt4gMh+ldjCCSiuimxWjugWCrg91iyo6zEwuZgwz9IRQf0Cj/kRwikFPAJ+f9w7Ffb05fsScivNSpeCjPb6OPKisWK22BUzlyGS7jQUcyy0gu2lqrWkF7Ix3bELM7xY7kDv70TqAjJXRy8ZMs3nEgQanedzYcVr1ytjiyFsElEW2hIGZke7uE1ukoUuK6a7zzA6i336vfAQTGeaymNKejCfbvdMQ9WqxFCmQaWesTb4gJKWEEctgQva1p+eIAs3IesJlFKJMUSxwtwLi+yIeN8nFtAfjTs6mz/NI7LqHrrLA8FcEwVwqmzi7JTNuNF+F/1PwBQfJAKanWIrJXRfwTusRkuXESApGvjPEkrJLB2UZnKcq7WgoaPedIvAkHeRJeOsbjPmwAiprm1paX8KXaOxjpt7h0smLkYLMrlM7yU4WLUuja1OHNCSUFlUQvZVhB2v1ZDShy3U3JqcUhEndyLXJDmExXdUlUFfnUpp7wy6Syh7L3BfwPPLbCvKQcwF95zvrZQgpbUvE7XdAGLpK9iZBQfpi3XtBnONT5Sz87xx9xnanukfzlqdT+ilMsOw8zNbDTubmZochZSsS+rkscEBeLvtcgcl7B/lX8ihQQRbH0dltpNzc5hvooXM001aJQddKmt5aRzlBORYoaqapYFsuAJFAHnfXkFHPiaTv5joy8gsBgoa0KMSG3kh5sivhPXXU2fQYdxUFdyGcqmVW0+P5rEXy9pW1dbIklRzdNLUgnQsK+mmxw9mCLZ57rcdIySQJ8Zz6zDBCTUYWBLVmAmD5LipmdmfOgFn0tnXShj1Mx1vQh3VM/pBe/hOI1N9IlO7emTf2H4XjhuEf3SYGww2H4N7Vl8LJ2SM/+VqlkS+bZLnEu5ityBA3jCTHyvQlsvbugAyvKsGO0QEHfV69ShVcYmbqyD4/xoKfFq8tsJfs7o0B77MjsXogLRapv1TqJqPEpkKlm4eiR4+Ie5vyj7GsMWJkehvQf7p9QvYz54josp6xgOVHTnyE6od94gu6lIlmrfRWMpI0Py8WTCNq9S3We/3D+Zla3A65+JArmTlVAJ2lVVhTctxMdZtgHL3/zAVET/sd21h5ZyMhLYWObuUycSi2aAO1IJ9trNnEPZ9IACn39xlyZBDJT1cQxuGWwFdHdXUXOdwUJTJhwDfW6NdyjiI3R3TBOtbSoQu9oeCyKUPDTVQ/Aqf8HFrghOKno+hnINSTmCZ/YjS6CJHZatnCY9o8h3SXsRwzy7cPQpwqI43vHnv30ZEMQjhAglitc7ZIidRRM+ZCNTZGXfzttXaIsUFFSNPLtLF5LRpQTClHKmUfNYNW+DSqE/IoY2P+IFr5XXEK2asJcWGD0gpvmUMYak/oYKhpwgBcgb/VNWydYVVgINKpgn3objLwK4aQ6OjvIuko2JpkCfjgPRcLZc2vp4f8bxE9Bs6sIEg9x7Z2/Hsuzrxv/aK/QUYPU6pXFY5SqH6LolYDXnICSIEAA2JBH39JHjjmlTOxw/0IE7bAKPFqHuWE32jVoq7O5oNynIYfWn3Ak7GrAjaKaKfp/91MTnNLzHgvGZPqaHco/lJBftbelHkhVjfOiLggTiVucy7GZZT8mMhZgepNUf2TqK229nEIDf38WAaSRfUbIWnxKWdY3FllavYsUeJ+85MggOs9fF9A7audZfjv0FJPlf+AXgTAuyVUHEjoUOZlEhHTqKUy1vE8N2i6lgiRMKyj9zqAg7wODUH2MN0DwGSBb8mrGWX3ccim3LZopee57qXCYVzG+ZNxJ9Qxs5C0MXitVnKX7T6KNf5QI9tB4KBAxBccghB4bBgh3E2H5xDgAmBTg7rMqkOw3TUVO2iGceDm62xdnGp3vme8gT88I+nnYgy+b3sRKnwd/Vm1vVvTfo7joT4x2I4z7SYG5K5QWaxBeahArpVEqO8jVKm+leZdRBGF2l1G5guStv6zoEArboIYr0HMKcMGM54mqGI+JaAvyMiDu2+IAAJn9afBXbeDE+6th14uBgq1YG2k9xKqKnVZqNkcr3NUPOf4blLwSuk4o8TH5XOT23NRYAhNVXuXGeQoCDeEnRjmwvygD73U9J/CNlaqvPTaoAW4klDoG4TgmG0+kY7e/ekJ6YSSprAeMw9hadYwdOpR/X8n1ypjxs5yh0yNjFxUTGTjBz2HUdgnsOJZWx3WoOXp0T17lr1+JSFO/KB5nkMMw8FxxxoKATHGM+koDecafOkiDXXxPFxvU/d6XYodILGmolpQoOJdtVAhXpQBCt6N6HQ32iTUkBt8wUqSQoN/bT/c1mF0J9YHuY0QQsCfSrkf/iUecpLBa54S8cZq1O6r258p/ywL4FkwYXx//CKBdcY/FU6kH3SuJX8SxIjSEgIHm0DqTY1QOohXcUSdZ8BAsSxaKimkU/Nrx/ZeYypWiM5O//iBp22HWV/UUHDafb85xx491pskuw2gFwf3mrxKHsGyXh36mPSEQ6StKRTFfyGRtMOQicNtXdepXh5FgrrStXS9CO3HEVcbvjre8iHtp0zVpuZjEJO66nzN/5lvgOz8Xe4V//HqlgzqQVq2MDeezuZwPhBTqDw/De0cDMdW2G+cF2xtQCjEngQCB76y9doCT6EtTLxFi2B1uI/+7W0q7MXmu2YJ/fP0x9q5idM2YIOTdEk1y9fNGFnm40R0vgYBOTRuzOj7XEDbBlBjS20v576z9iLH+UKh7hZ2d8QrZW7mTIQectb89UEfjodgXTPM8jBDN2/4dpUgvhIZR0uCn2zr92XOG2r84MeN3qjw+5nP2Pbd+k6d4IrBEwNMe9cBGKStovpXl8rpqvdCmF6mwnL4tf0/kDJQHqFM+NyTEIcSI1gLETEmu6alYVkLW0LUy+byEUYVqL7CDA+AKlQYBFSGEfd5zDnAOEd0vQadAGnDoZwZ7PdCYN/4xrBVDKXvMUtMqafx+k1GilQ+z3ytr3FCAw72q4aAXOpoiXcB0oe0c7KW3v+U/zjkMHsBZiwHoAygGbwU2nMYeitCyd3P4NWwfRh3vwx2mlPip+une/dCQK0iRl3ZRtMwLrwO5Vpp0TNrQSf6Wko3Uo14kdtHofrMPwvN97/b+l5ii8snZ8uaf5oTUJVFlBWo4hFwgWsvm9hFaX3US/ONC1WJhoLM6tA/UczrWyoRDB2N4Kfuejs1Hd9pUIv4eBUcDyNBtRkGP3Gdi6QVO5Bd5/WMXz/QodxwveAESrRfHIKsYHR/Ytfl+Hi74gbgQgZGUzyNjV2U3csBv5rBRfDPdj3PLTG8h8xD1ye5Kkb94Z2qwaWHAjAz6+ijhcA4urrCxrDr/l8epykWMwqEG3O+jHUKEZ8onhcOPwoJwQcmUEHHSxBP6kn7pZQ8alk8sih5+ZbdAoFTpwGMWBslDHOGzovY3V7mnphg0vZzw+wBv9YASXOYKiJ2yG7ZRBTCtbEjudHWE4RJpjTtorg8NzZeCoJwRViZ7GRBK6jXweO4qWc0Y/SZmp1oxIyTQlpXrT+XmbNiXdfmeaP0laFigik0cFW6ElO3UC+o8Fz3+vWveENihGYE1zjYVy/iGBwyiJPAvc6wlKIiDE3WZ8R4lk7tIAeEvs+UeNaiin7iYw2Eeateo6RPM7O2DCUvswNrbEs8wILPYH58F949eC+sXV7VQIQoj2MERD22KeKrSzbrdTa2iSWGGXuLnhQbiJieGJ15VvvLqxOuDm7ES67Jy37D5826yiXZ1qDbEBkBvTNGASYUxVNH/HCMqO096lDdSXz5WSPaIZHRQN4EH92PtUhrKsm1QcoQcm9SQ0vvfOEnjbmKsBH0+QNgBpC++vytiNJ7mNp8J26/3WrQBjbEXyOiCk6cJ0ST6/s4EXTtPLvAMWr+qMr1etOqlhM5SH1a+Fcce7bMAUni6oStgBk1Iu1SXbMUENF/51nMEdPkdiJUE8vW2qg/VmKhFNl+mPN6XuXfUVO7t5DkuxQoK/Mp2+X+J84MTeG26enkykqO0vHaS8nXkg5jworJ7aUrPtxLf80RCJc2hhmnooczTCMJL4InUUAyNKpY6tGXSwXAOlJIScYEnVopQSo4NoV1JiJDJlwlH7LfkJ9CWKidJFiVW1XASytyWiNl26fBROveSlwuDZdayKgrAagRpTmEd2F7k9SpFnz7H+RbyU3ocoUWEUIKXVWN3y0hQw5Y5/UL07E4F0a3BZIrobACtzPltoJKbxF+NoGWXeU05dnKfHql5PdW7AM9jkuxsVylgvfnI0bVS+6VqOHJn88ZBiOg6QfZMXzDQhgiXaVcCDWMeRU6EJjhiwb2ZcIw5xHmlRIJjfavvqmlpBnKCJs0frzp8B1DIZoUwA+HMqWfHN3c4GCtVEr6tSdBKG109DbKY/NT3hTQWQgaFyqQ+eJvuka4bKiePPlhbQNs2xYiK8xrfD1IvlEy4jNNCgkBHFNH4a32w45+CNc0eDYHcoa3Jb+Xm8+JR5xrWuHskEC5n8mHBNRfd0wUK8RQV/GELueZBPBOj4VvE/ytqnysiuBqbzwrWtGw1fYJtOrjyr4ZpPKlwbI9vN5O4YD3vCJr3wF/ItcdOP8JO2HRwEYPnpO0zcyBliqLV7cnznnhyO+WJ9RRCqBMyfRrup+qL0FCybD2OOnK23xHz7SekSNncQlDzGEgBfNWgV8PKhhP8XV6rrmwM5KgBpqy/gK0P/kT92JwY+QA0QAZiePbCb5cc1OW6KVrGigDMM5c0wtPPHEJHqEfHcsKtZ38cMcaYowuN2PmGr0Ws/Ub4SVOlrPxyHMeP+cTYLrgwO0+AaVWPmPZkf6GNqn9BYcy1slgTwUbUTeg+JBsQTpUJdinJ4IiGBVMLa9KRYgREWrWIJn5RITBl+GMUxda3zU5ZqG5A7j+Nx+Cu/6W39bbgmdUlBItRtemzq+ObxxmNCQyrZMgenxuYjdRwITgk16QlUC/6ynnF7S4LQXWzL07PHLcDzDTZquYNwjJIK+FnWDh2AUE8AY5K4bMfWaXFqPDRUXv1Y7tg5iNubMylvbn8wZaV6awcKR/MN8+ICfSNgZ4Pd7ZEGFmnNUykFUF7xsD6QBcx7oBO3gNpER5dZdl7Tw1NXKnGHZxAwg7DP00KV+E2Sc9vZpS7LVGLC70tYCW9pVL+wMdoX2HW4lvkuHu4xeqrFdqFay28xNq7BQ/0Jcr1NI5DwJk+CkwIpiFuSnZv5TeGdq8kMjNskIr8Kq2iyxObuZQb71O3RbgDehWjQDfn+l4wM+Dx917fa/4q79lQiJ1EuDgoIZcwYfIWpYUZdX4XVrYhxqV4vqHZoseFqmfs+ND9DhBZ2y/+YnWu3xKq9GNPM0O2EFJi9LGzEb22h2GpB5kJPzq4wfPUKv6A+HYbX7qZXfLIjgm7tIItqxw+ZF3PKOswx0jEizP/4RyPvitfvU4KuRO1JKD/Wa60r8mxCna+bl62St+NU4hCwlzm2PC4mXQpg/D9/hD0RIaoorw6Gg3CNhZnDpyH1Ea3DCPHXBCnt0ayymITMpKa71VS3P1YzMq1zRcxmfVWbDDgU6nIEWjQkXaj+KZH4kBhMmNV4uG7ElVD+flcT7j0JQVxjoLcw=="/>
  <p:tag name="MEKKOXMLTAGS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35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35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33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79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2"/>
  <p:tag name="BTFPLAYOUTENABLED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3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4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346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407"/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5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5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5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56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57"/>
  <p:tag name="BTFPLAYOUTENABLED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60"/>
  <p:tag name="BTFPLAYOUTENABLED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63"/>
  <p:tag name="BTFPICONID" val="f80146672bc9635bed716118062215f4"/>
  <p:tag name="BTFPLAYOUTENABLED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66"/>
  <p:tag name="BTFPICONID" val="12cf2b874518f872afbf8f4f35a91a7b"/>
  <p:tag name="BTFPLAYOUTENABLED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069"/>
  <p:tag name="BTFPICONID" val="32be0268eacf3633a33b589c7d2d13bb"/>
  <p:tag name="BTFPLAYOUTENABLED" val="1"/>
</p:tagLst>
</file>

<file path=ppt/theme/theme1.xml><?xml version="1.0" encoding="utf-8"?>
<a:theme xmlns:a="http://schemas.openxmlformats.org/drawingml/2006/main" name="1_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BF16324A-100D-43A3-989B-06855AF3057C}" vid="{05E5CB01-ABF8-49A0-9EED-8A582D469C1C}"/>
    </a:ext>
  </a:extLst>
</a:theme>
</file>

<file path=ppt/theme/theme2.xml><?xml version="1.0" encoding="utf-8"?>
<a:theme xmlns:a="http://schemas.openxmlformats.org/drawingml/2006/main" name="2_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BF16324A-100D-43A3-989B-06855AF3057C}" vid="{05E5CB01-ABF8-49A0-9EED-8A582D469C1C}"/>
    </a:ext>
  </a:extLst>
</a:theme>
</file>

<file path=ppt/theme/theme3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BF16324A-100D-43A3-989B-06855AF3057C}" vid="{05E5CB01-ABF8-49A0-9EED-8A582D469C1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5BFFE099510747B2A593DE7A268783" ma:contentTypeVersion="13" ma:contentTypeDescription="Create a new document." ma:contentTypeScope="" ma:versionID="0b01eaaf954007f43c350cbbb86e0243">
  <xsd:schema xmlns:xsd="http://www.w3.org/2001/XMLSchema" xmlns:xs="http://www.w3.org/2001/XMLSchema" xmlns:p="http://schemas.microsoft.com/office/2006/metadata/properties" xmlns:ns2="d2359d12-4d13-4e82-89fe-79087d05c7f0" xmlns:ns3="61d0fd8e-703f-4aec-bec3-0835d0dc0798" targetNamespace="http://schemas.microsoft.com/office/2006/metadata/properties" ma:root="true" ma:fieldsID="083071b07158c1ad4788ca4a8601f6f2" ns2:_="" ns3:_="">
    <xsd:import namespace="d2359d12-4d13-4e82-89fe-79087d05c7f0"/>
    <xsd:import namespace="61d0fd8e-703f-4aec-bec3-0835d0dc079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359d12-4d13-4e82-89fe-79087d05c7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d0fd8e-703f-4aec-bec3-0835d0dc079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86e33e7e-bee8-4f11-9ca3-f2343e43786e}" ma:internalName="TaxCatchAll" ma:showField="CatchAllData" ma:web="61d0fd8e-703f-4aec-bec3-0835d0dc079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2359d12-4d13-4e82-89fe-79087d05c7f0">
      <Terms xmlns="http://schemas.microsoft.com/office/infopath/2007/PartnerControls"/>
    </lcf76f155ced4ddcb4097134ff3c332f>
    <TaxCatchAll xmlns="61d0fd8e-703f-4aec-bec3-0835d0dc0798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2D45AFF-E432-4038-84D3-B22FEC7052F3}">
  <ds:schemaRefs>
    <ds:schemaRef ds:uri="61d0fd8e-703f-4aec-bec3-0835d0dc0798"/>
    <ds:schemaRef ds:uri="d2359d12-4d13-4e82-89fe-79087d05c7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C247F6D-18FE-4116-9106-06832C892AE3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d2359d12-4d13-4e82-89fe-79087d05c7f0"/>
    <ds:schemaRef ds:uri="61d0fd8e-703f-4aec-bec3-0835d0dc0798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960D4CA-E752-4CF4-A126-AF7A9822080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5</TotalTime>
  <Words>1149</Words>
  <Application>Microsoft Office PowerPoint</Application>
  <PresentationFormat>Widescreen</PresentationFormat>
  <Paragraphs>175</Paragraphs>
  <Slides>9</Slides>
  <Notes>4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9</vt:i4>
      </vt:variant>
    </vt:vector>
  </HeadingPairs>
  <TitlesOfParts>
    <vt:vector size="17" baseType="lpstr">
      <vt:lpstr>Arial</vt:lpstr>
      <vt:lpstr>Calibri</vt:lpstr>
      <vt:lpstr>GT Walsheim Pro O</vt:lpstr>
      <vt:lpstr>Roboto</vt:lpstr>
      <vt:lpstr>1_Bain Core</vt:lpstr>
      <vt:lpstr>2_Bain Core</vt:lpstr>
      <vt:lpstr>Bain Core</vt:lpstr>
      <vt:lpstr>Diapositiva think-cell</vt:lpstr>
      <vt:lpstr>Il contesto di riferimento e la partnership con AGIDAE  Luglio 2023</vt:lpstr>
      <vt:lpstr>Presentazione standard di PowerPoint</vt:lpstr>
      <vt:lpstr>La percentuali di laureati in Italia è più bassa della media europea, con solo ~30% degli Italiani tra 25 e 34 anni rispetto ad una media UE del 44%</vt:lpstr>
      <vt:lpstr>Dalla consapevolezza delle lacune del sistema universitario italiano sono nate le università telematiche, che soddisfano una parte importante della domanda di istruzione universitaria</vt:lpstr>
      <vt:lpstr>La maggiore flessibilità e il risparmio di tempo offerti dalle università online sono le principali motivazioni di iscrizione evidenziate dagli studenti</vt:lpstr>
      <vt:lpstr>Multiversity offre una proposta che soddisfa tutti i fattori-chiave di successo (KSF) dell'istruzione online, superando costantemente la concorrenza</vt:lpstr>
      <vt:lpstr>Con circa il 90% di recensioni positive su Trustpilot, Pegaso e Mercatorum si distinguono dalle altre università online italiane</vt:lpstr>
      <vt:lpstr>Un offerta formativa eterogenea ed integrata proposta da 3 Atenei con focus distinti e complementari che si contraddistingue come la più ampia sul mercato1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rnardi, Roberto</dc:creator>
  <cp:lastModifiedBy>Andrea Buonomo</cp:lastModifiedBy>
  <cp:revision>35</cp:revision>
  <cp:lastPrinted>2017-02-15T14:23:56Z</cp:lastPrinted>
  <dcterms:created xsi:type="dcterms:W3CDTF">2023-06-27T14:28:47Z</dcterms:created>
  <dcterms:modified xsi:type="dcterms:W3CDTF">2023-07-25T07:09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5BFFE099510747B2A593DE7A268783</vt:lpwstr>
  </property>
  <property fmtid="{D5CDD505-2E9C-101B-9397-08002B2CF9AE}" pid="3" name="MediaServiceImageTags">
    <vt:lpwstr/>
  </property>
</Properties>
</file>